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1.xml" ContentType="application/vnd.openxmlformats-officedocument.presentationml.notesSlide+xml"/>
  <Override PartName="/ppt/slideLayouts/slideLayout6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4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3.xml" ContentType="application/vnd.openxmlformats-officedocument.presentationml.tags+xml"/>
  <Override PartName="/ppt/tags/tag5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0"/>
  </p:notesMasterIdLst>
  <p:sldIdLst>
    <p:sldId id="270" r:id="rId2"/>
    <p:sldId id="306" r:id="rId3"/>
    <p:sldId id="314" r:id="rId4"/>
    <p:sldId id="315" r:id="rId5"/>
    <p:sldId id="328" r:id="rId6"/>
    <p:sldId id="329" r:id="rId7"/>
    <p:sldId id="273" r:id="rId8"/>
    <p:sldId id="297" r:id="rId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W_Standardfolien" id="{A802C8F7-A9FE-44CE-A193-618CB8F23B31}">
          <p14:sldIdLst>
            <p14:sldId id="270"/>
            <p14:sldId id="306"/>
            <p14:sldId id="314"/>
            <p14:sldId id="315"/>
            <p14:sldId id="328"/>
            <p14:sldId id="329"/>
            <p14:sldId id="273"/>
            <p14:sldId id="29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gowsky Johannes" initials="RJ" lastIdx="2" clrIdx="0">
    <p:extLst>
      <p:ext uri="{19B8F6BF-5375-455C-9EA6-DF929625EA0E}">
        <p15:presenceInfo xmlns:p15="http://schemas.microsoft.com/office/powerpoint/2012/main" userId="Rogowsky Johanne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0D2"/>
    <a:srgbClr val="BFBFBF"/>
    <a:srgbClr val="FFFFFF"/>
    <a:srgbClr val="C6C6C6"/>
    <a:srgbClr val="CFCFCF"/>
    <a:srgbClr val="D56854"/>
    <a:srgbClr val="3E4D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427" autoAdjust="0"/>
    <p:restoredTop sz="96837" autoAdjust="0"/>
  </p:normalViewPr>
  <p:slideViewPr>
    <p:cSldViewPr snapToGrid="0">
      <p:cViewPr varScale="1">
        <p:scale>
          <a:sx n="91" d="100"/>
          <a:sy n="91" d="100"/>
        </p:scale>
        <p:origin x="442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18" Type="http://schemas.openxmlformats.org/officeDocument/2006/relationships/customXml" Target="../customXml/item3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17" Type="http://schemas.openxmlformats.org/officeDocument/2006/relationships/customXml" Target="../customXml/item2.xml"/><Relationship Id="rId2" Type="http://schemas.openxmlformats.org/officeDocument/2006/relationships/slide" Target="slides/slide1.xml"/><Relationship Id="rId16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19" Type="http://schemas.openxmlformats.org/officeDocument/2006/relationships/customXml" Target="../customXml/item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C32999-C663-43BE-8B38-E0DEF1895D3E}" type="datetimeFigureOut">
              <a:rPr lang="de-DE" smtClean="0"/>
              <a:t>31.10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82038D-31E3-4420-8CFC-393B971672D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97629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A34052-12FB-4B01-8A2E-D87AD7371E9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9169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171741" y="2931048"/>
            <a:ext cx="10592805" cy="345600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 algn="l">
              <a:defRPr sz="2800" b="1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ÄSENTATIONSVORLAGE - TITELFOLI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171741" y="3285287"/>
            <a:ext cx="10592805" cy="345600"/>
          </a:xfrm>
          <a:prstGeom prst="rect">
            <a:avLst/>
          </a:prstGeom>
        </p:spPr>
        <p:txBody>
          <a:bodyPr lIns="0" tIns="0" bIns="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2400" spc="0">
                <a:solidFill>
                  <a:schemeClr val="tx1"/>
                </a:solidFill>
                <a:latin typeface="Lato" panose="020F0502020204030203" pitchFamily="34" charset="0"/>
              </a:defRPr>
            </a:lvl1pPr>
            <a:lvl2pPr marL="5484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6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4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3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23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0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39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77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UNTERTITEL</a:t>
            </a:r>
          </a:p>
        </p:txBody>
      </p:sp>
      <p:sp>
        <p:nvSpPr>
          <p:cNvPr id="16" name="Rechteck 15"/>
          <p:cNvSpPr>
            <a:spLocks noChangeAspect="1"/>
          </p:cNvSpPr>
          <p:nvPr/>
        </p:nvSpPr>
        <p:spPr>
          <a:xfrm>
            <a:off x="3" y="2925067"/>
            <a:ext cx="960000" cy="1036800"/>
          </a:xfrm>
          <a:prstGeom prst="rect">
            <a:avLst/>
          </a:prstGeom>
          <a:solidFill>
            <a:srgbClr val="DADA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48" rIns="109697" bIns="54848" rtlCol="0" anchor="ctr"/>
          <a:lstStyle/>
          <a:p>
            <a:pPr algn="ctr"/>
            <a:endParaRPr lang="de-DE" sz="2160" dirty="0">
              <a:latin typeface="Lato" panose="020F0502020204030203" pitchFamily="34" charset="0"/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1028348" y="2925067"/>
            <a:ext cx="72000" cy="1036800"/>
          </a:xfrm>
          <a:prstGeom prst="rect">
            <a:avLst/>
          </a:prstGeom>
          <a:solidFill>
            <a:srgbClr val="0062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48" rIns="109697" bIns="54848" rtlCol="0" anchor="ctr"/>
          <a:lstStyle/>
          <a:p>
            <a:pPr algn="ctr"/>
            <a:endParaRPr lang="de-DE" sz="2160" dirty="0">
              <a:latin typeface="Lato" panose="020F0502020204030203" pitchFamily="34" charset="0"/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170217" y="3764115"/>
            <a:ext cx="10594328" cy="216000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>
              <a:buNone/>
              <a:defRPr sz="1600" b="0">
                <a:latin typeface="Lato" panose="020F0502020204030203" pitchFamily="34" charset="0"/>
              </a:defRPr>
            </a:lvl1pPr>
          </a:lstStyle>
          <a:p>
            <a:pPr lvl="0"/>
            <a:r>
              <a:rPr lang="de-DE" dirty="0"/>
              <a:t>ANGABEN ZUM REFERENTEN, ORDNUNGSMERKMAL</a:t>
            </a:r>
          </a:p>
        </p:txBody>
      </p:sp>
      <p:sp>
        <p:nvSpPr>
          <p:cNvPr id="10" name="Rechteck 9"/>
          <p:cNvSpPr>
            <a:spLocks noChangeAspect="1"/>
          </p:cNvSpPr>
          <p:nvPr userDrawn="1"/>
        </p:nvSpPr>
        <p:spPr>
          <a:xfrm>
            <a:off x="3" y="2925067"/>
            <a:ext cx="960000" cy="1036800"/>
          </a:xfrm>
          <a:prstGeom prst="rect">
            <a:avLst/>
          </a:prstGeom>
          <a:solidFill>
            <a:srgbClr val="DADA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48" rIns="109697" bIns="54848" rtlCol="0" anchor="ctr"/>
          <a:lstStyle/>
          <a:p>
            <a:pPr algn="ctr"/>
            <a:endParaRPr lang="de-DE" sz="2160" dirty="0">
              <a:latin typeface="Lato" panose="020F0502020204030203" pitchFamily="34" charset="0"/>
            </a:endParaRPr>
          </a:p>
        </p:txBody>
      </p:sp>
      <p:sp>
        <p:nvSpPr>
          <p:cNvPr id="11" name="Rechteck 10"/>
          <p:cNvSpPr/>
          <p:nvPr userDrawn="1"/>
        </p:nvSpPr>
        <p:spPr>
          <a:xfrm>
            <a:off x="1028348" y="2925067"/>
            <a:ext cx="72000" cy="1036800"/>
          </a:xfrm>
          <a:prstGeom prst="rect">
            <a:avLst/>
          </a:prstGeom>
          <a:solidFill>
            <a:srgbClr val="0062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7" tIns="54848" rIns="109697" bIns="54848" rtlCol="0" anchor="ctr"/>
          <a:lstStyle/>
          <a:p>
            <a:pPr algn="ctr"/>
            <a:endParaRPr lang="de-DE" sz="2160" dirty="0">
              <a:latin typeface="Lato" panose="020F0502020204030203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2268260-A809-4335-9E79-660C05C32E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60604" y="5950673"/>
            <a:ext cx="1403941" cy="538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3565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 Slid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E2DC4FA0-5425-4892-A300-D9B0AB279F1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 flipH="1">
            <a:off x="6095999" y="1"/>
            <a:ext cx="6095999" cy="6858001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buNone/>
              <a:defRPr>
                <a:latin typeface="Lato" panose="020F0502020204030203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5260" y="496127"/>
            <a:ext cx="5237545" cy="341632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>
              <a:defRPr sz="2400" b="1" i="0" spc="3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3195EBB-543F-0B45-AA24-48318C41A6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5260" y="849303"/>
            <a:ext cx="5237545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Lato" panose="020F0502020204030203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7F86562-1E7B-4890-89EF-C85D421273E0}"/>
              </a:ext>
            </a:extLst>
          </p:cNvPr>
          <p:cNvSpPr/>
          <p:nvPr userDrawn="1"/>
        </p:nvSpPr>
        <p:spPr>
          <a:xfrm>
            <a:off x="576000" y="539751"/>
            <a:ext cx="72000" cy="576000"/>
          </a:xfrm>
          <a:prstGeom prst="rect">
            <a:avLst/>
          </a:prstGeom>
          <a:solidFill>
            <a:srgbClr val="0062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5" tIns="60943" rIns="121885" bIns="60943" rtlCol="0" anchor="ctr"/>
          <a:lstStyle/>
          <a:p>
            <a:pPr algn="ctr"/>
            <a:endParaRPr lang="de-DE" sz="2400" dirty="0">
              <a:latin typeface="Lato" panose="020F0502020204030203" pitchFamily="34" charset="0"/>
            </a:endParaRP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339E9D38-E790-4C06-9595-F92A5C3522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5260" y="1384599"/>
            <a:ext cx="5237545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800" b="0" smtClean="0">
                <a:solidFill>
                  <a:schemeClr val="tx1"/>
                </a:solidFill>
                <a:latin typeface="Lato" panose="020F0502020204030203" pitchFamily="34" charset="0"/>
                <a:ea typeface="+mj-ea"/>
                <a:cs typeface="+mj-cs"/>
              </a:defRPr>
            </a:lvl1pPr>
            <a:lvl2pPr>
              <a:defRPr lang="en-GB" sz="2400" smtClean="0">
                <a:solidFill>
                  <a:schemeClr val="tx2"/>
                </a:solidFill>
              </a:defRPr>
            </a:lvl2pPr>
            <a:lvl3pPr>
              <a:defRPr lang="en-GB" sz="2400" smtClean="0">
                <a:solidFill>
                  <a:schemeClr val="tx2"/>
                </a:solidFill>
              </a:defRPr>
            </a:lvl3pPr>
            <a:lvl4pPr>
              <a:defRPr lang="en-GB" sz="2400" smtClean="0">
                <a:solidFill>
                  <a:schemeClr val="tx2"/>
                </a:solidFill>
              </a:defRPr>
            </a:lvl4pPr>
            <a:lvl5pPr>
              <a:defRPr lang="de-DE" sz="2400">
                <a:solidFill>
                  <a:schemeClr val="tx2"/>
                </a:solidFill>
              </a:defRPr>
            </a:lvl5pPr>
          </a:lstStyle>
          <a:p>
            <a:pPr marL="168140" lvl="0" indent="-380990">
              <a:lnSpc>
                <a:spcPct val="100000"/>
              </a:lnSpc>
              <a:spcBef>
                <a:spcPct val="0"/>
              </a:spcBef>
            </a:pPr>
            <a:r>
              <a:rPr lang="en-GB" dirty="0"/>
              <a:t>SUBTITLE</a:t>
            </a:r>
            <a:endParaRPr lang="de-DE" dirty="0"/>
          </a:p>
        </p:txBody>
      </p:sp>
      <p:pic>
        <p:nvPicPr>
          <p:cNvPr id="13" name="Picture 14" descr="Text&#10;&#10;Description automatically generated">
            <a:extLst>
              <a:ext uri="{FF2B5EF4-FFF2-40B4-BE49-F238E27FC236}">
                <a16:creationId xmlns:a16="http://schemas.microsoft.com/office/drawing/2014/main" id="{946A6864-7ED5-4915-B74F-4AA18520EB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2820" y="507852"/>
            <a:ext cx="1179180" cy="396346"/>
          </a:xfrm>
          <a:prstGeom prst="rect">
            <a:avLst/>
          </a:prstGeom>
        </p:spPr>
      </p:pic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FE7A3D53-617C-41A7-A567-4C91C3E53A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0000" y="6489639"/>
            <a:ext cx="6240000" cy="166784"/>
          </a:xfrm>
          <a:prstGeom prst="rect">
            <a:avLst/>
          </a:prstGeom>
        </p:spPr>
        <p:txBody>
          <a:bodyPr lIns="91430" tIns="0" rIns="91430" bIns="0"/>
          <a:lstStyle>
            <a:lvl1pPr algn="l">
              <a:defRPr sz="1000" b="0">
                <a:solidFill>
                  <a:srgbClr val="B3B3B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de-DE"/>
              <a:t>@2025 INNOWERK - FRANKFURT AM MAIN</a:t>
            </a:r>
            <a:endParaRPr lang="de-DE" dirty="0"/>
          </a:p>
        </p:txBody>
      </p:sp>
      <p:sp>
        <p:nvSpPr>
          <p:cNvPr id="17" name="Foliennummernplatzhalter 3">
            <a:extLst>
              <a:ext uri="{FF2B5EF4-FFF2-40B4-BE49-F238E27FC236}">
                <a16:creationId xmlns:a16="http://schemas.microsoft.com/office/drawing/2014/main" id="{5F09EEBB-F816-4EED-BFAF-AA75A168B1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2850" y="6489700"/>
            <a:ext cx="2819400" cy="161925"/>
          </a:xfrm>
          <a:prstGeom prst="rect">
            <a:avLst/>
          </a:prstGeom>
        </p:spPr>
        <p:txBody>
          <a:bodyPr/>
          <a:lstStyle>
            <a:lvl1pPr algn="r">
              <a:defRPr sz="1000" b="1">
                <a:solidFill>
                  <a:srgbClr val="B3B3B3"/>
                </a:solidFill>
                <a:latin typeface="+mn-lt"/>
              </a:defRPr>
            </a:lvl1pPr>
          </a:lstStyle>
          <a:p>
            <a:r>
              <a:rPr lang="de-DE" dirty="0"/>
              <a:t>SEITE </a:t>
            </a:r>
            <a:fld id="{44AC4DCE-31D8-40DA-8054-82557CC0B0B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Datumsplatzhalter 4">
            <a:extLst>
              <a:ext uri="{FF2B5EF4-FFF2-40B4-BE49-F238E27FC236}">
                <a16:creationId xmlns:a16="http://schemas.microsoft.com/office/drawing/2014/main" id="{96C91606-5046-4250-BB98-2CBB9CEA34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831263" y="6313985"/>
            <a:ext cx="2820987" cy="16351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rgbClr val="B3B3B3"/>
                </a:solidFill>
                <a:latin typeface="Lato" panose="020F0502020204030203" pitchFamily="34" charset="0"/>
              </a:defRPr>
            </a:lvl1pPr>
          </a:lstStyle>
          <a:p>
            <a:r>
              <a:rPr lang="en-US"/>
              <a:t>6 November 2025</a:t>
            </a:r>
            <a:endParaRPr lang="de-DE" dirty="0"/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C8EBB38B-DCE4-414D-8785-90B294F658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964" y="1825625"/>
            <a:ext cx="5236842" cy="4386263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600" spc="0">
                <a:solidFill>
                  <a:schemeClr val="tx1"/>
                </a:solidFill>
                <a:latin typeface="Lato" panose="020F0502020204030203" pitchFamily="34" charset="0"/>
              </a:defRPr>
            </a:lvl1pPr>
            <a:lvl2pPr>
              <a:defRPr>
                <a:latin typeface="Lato" panose="020F0502020204030203" pitchFamily="34" charset="0"/>
              </a:defRPr>
            </a:lvl2pPr>
            <a:lvl3pPr marL="914400" indent="0">
              <a:buNone/>
              <a:defRPr>
                <a:latin typeface="Lato" panose="020F0502020204030203" pitchFamily="34" charset="0"/>
              </a:defRPr>
            </a:lvl3pPr>
            <a:lvl4pPr marL="1371600" indent="0">
              <a:buNone/>
              <a:defRPr>
                <a:latin typeface="Lato" panose="020F0502020204030203" pitchFamily="34" charset="0"/>
              </a:defRPr>
            </a:lvl4pPr>
          </a:lstStyle>
          <a:p>
            <a:pPr lvl="0"/>
            <a:r>
              <a:rPr lang="de-DE" dirty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7932041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ntent Slid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9875DD67-62CE-417F-8D72-53AC762FB7B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 flipH="1">
            <a:off x="0" y="1"/>
            <a:ext cx="12191998" cy="6858001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buNone/>
              <a:defRPr>
                <a:latin typeface="Lato" panose="020F0502020204030203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49C0A538-914E-45F7-AE50-95B92E0DB63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5" tIns="60943" rIns="121885" bIns="60943" rtlCol="0" anchor="ctr"/>
          <a:lstStyle/>
          <a:p>
            <a:pPr algn="ctr"/>
            <a:endParaRPr lang="en-US" sz="2400" dirty="0">
              <a:latin typeface="Lato" panose="020F0502020204030203" pitchFamily="34" charset="0"/>
            </a:endParaRPr>
          </a:p>
        </p:txBody>
      </p:sp>
      <p:pic>
        <p:nvPicPr>
          <p:cNvPr id="10" name="Picture 14" descr="Text&#10;&#10;Description automatically generated">
            <a:extLst>
              <a:ext uri="{FF2B5EF4-FFF2-40B4-BE49-F238E27FC236}">
                <a16:creationId xmlns:a16="http://schemas.microsoft.com/office/drawing/2014/main" id="{2F77756C-D703-41C4-89CA-ED59CA552F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2820" y="497219"/>
            <a:ext cx="1179180" cy="396346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D0996FEA-4220-43CD-9EDC-4C57D005F8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260" y="496127"/>
            <a:ext cx="10936378" cy="341632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>
              <a:defRPr sz="2400" b="1" i="0" spc="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73F5348-7B92-4880-8970-99DBEA142984}"/>
              </a:ext>
            </a:extLst>
          </p:cNvPr>
          <p:cNvSpPr/>
          <p:nvPr userDrawn="1"/>
        </p:nvSpPr>
        <p:spPr>
          <a:xfrm>
            <a:off x="576000" y="539751"/>
            <a:ext cx="72000" cy="288000"/>
          </a:xfrm>
          <a:prstGeom prst="rect">
            <a:avLst/>
          </a:prstGeom>
          <a:solidFill>
            <a:srgbClr val="0062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5" tIns="60943" rIns="121885" bIns="60943" rtlCol="0" anchor="ctr"/>
          <a:lstStyle/>
          <a:p>
            <a:pPr algn="ctr"/>
            <a:endParaRPr lang="de-DE" sz="2400" dirty="0">
              <a:latin typeface="Lato" panose="020F0502020204030203" pitchFamily="34" charset="0"/>
            </a:endParaRPr>
          </a:p>
        </p:txBody>
      </p:sp>
      <p:sp>
        <p:nvSpPr>
          <p:cNvPr id="13" name="Fußzeilenplatzhalter 15">
            <a:extLst>
              <a:ext uri="{FF2B5EF4-FFF2-40B4-BE49-F238E27FC236}">
                <a16:creationId xmlns:a16="http://schemas.microsoft.com/office/drawing/2014/main" id="{AAC5E0DC-D573-4047-9563-6009D835D3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0000" y="6489639"/>
            <a:ext cx="6240000" cy="166784"/>
          </a:xfrm>
          <a:prstGeom prst="rect">
            <a:avLst/>
          </a:prstGeom>
        </p:spPr>
        <p:txBody>
          <a:bodyPr lIns="91430" tIns="0" rIns="91430" bIns="0"/>
          <a:lstStyle>
            <a:lvl1pPr algn="l">
              <a:defRPr sz="1000" b="0">
                <a:solidFill>
                  <a:srgbClr val="B3B3B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de-DE"/>
              <a:t>@2025 INNOWERK - FRANKFURT AM MAIN</a:t>
            </a:r>
            <a:endParaRPr lang="de-DE" dirty="0"/>
          </a:p>
        </p:txBody>
      </p:sp>
      <p:sp>
        <p:nvSpPr>
          <p:cNvPr id="14" name="Foliennummernplatzhalter 3">
            <a:extLst>
              <a:ext uri="{FF2B5EF4-FFF2-40B4-BE49-F238E27FC236}">
                <a16:creationId xmlns:a16="http://schemas.microsoft.com/office/drawing/2014/main" id="{1FB62723-B10F-4F1B-9CB8-1795FA5E6C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2850" y="6489700"/>
            <a:ext cx="2819400" cy="161925"/>
          </a:xfrm>
          <a:prstGeom prst="rect">
            <a:avLst/>
          </a:prstGeom>
        </p:spPr>
        <p:txBody>
          <a:bodyPr/>
          <a:lstStyle>
            <a:lvl1pPr algn="r">
              <a:defRPr sz="1000" b="1">
                <a:solidFill>
                  <a:srgbClr val="B3B3B3"/>
                </a:solidFill>
                <a:latin typeface="+mn-lt"/>
              </a:defRPr>
            </a:lvl1pPr>
          </a:lstStyle>
          <a:p>
            <a:r>
              <a:rPr lang="de-DE" dirty="0"/>
              <a:t>SEITE </a:t>
            </a:r>
            <a:fld id="{44AC4DCE-31D8-40DA-8054-82557CC0B0B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Datumsplatzhalter 4">
            <a:extLst>
              <a:ext uri="{FF2B5EF4-FFF2-40B4-BE49-F238E27FC236}">
                <a16:creationId xmlns:a16="http://schemas.microsoft.com/office/drawing/2014/main" id="{D26B8BB9-8EC3-4EBF-8F32-932F652B30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831263" y="6313985"/>
            <a:ext cx="2820987" cy="16351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rgbClr val="B3B3B3"/>
                </a:solidFill>
                <a:latin typeface="Lato" panose="020F0502020204030203" pitchFamily="34" charset="0"/>
              </a:defRPr>
            </a:lvl1pPr>
          </a:lstStyle>
          <a:p>
            <a:r>
              <a:rPr lang="en-US"/>
              <a:t>6 November 202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26700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Slid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5260" y="496127"/>
            <a:ext cx="10936378" cy="341632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>
              <a:defRPr sz="2400" b="1" i="0" spc="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24 Pt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3195EBB-543F-0B45-AA24-48318C41A6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5260" y="849303"/>
            <a:ext cx="1093637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 spc="0">
                <a:solidFill>
                  <a:schemeClr val="tx1"/>
                </a:solidFill>
                <a:latin typeface="Lato" panose="020F0502020204030203" pitchFamily="34" charset="0"/>
              </a:defRPr>
            </a:lvl1pPr>
          </a:lstStyle>
          <a:p>
            <a:pPr lvl="0"/>
            <a:r>
              <a:rPr lang="en-US" dirty="0"/>
              <a:t>CLICK TO ADD SUBTITLE 20 Pt.</a:t>
            </a:r>
            <a:endParaRPr lang="en-GB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7F86562-1E7B-4890-89EF-C85D421273E0}"/>
              </a:ext>
            </a:extLst>
          </p:cNvPr>
          <p:cNvSpPr/>
          <p:nvPr userDrawn="1"/>
        </p:nvSpPr>
        <p:spPr>
          <a:xfrm>
            <a:off x="576000" y="539751"/>
            <a:ext cx="72000" cy="576000"/>
          </a:xfrm>
          <a:prstGeom prst="rect">
            <a:avLst/>
          </a:prstGeom>
          <a:solidFill>
            <a:srgbClr val="0062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5" tIns="60943" rIns="121885" bIns="60943" rtlCol="0" anchor="ctr"/>
          <a:lstStyle/>
          <a:p>
            <a:pPr algn="ctr"/>
            <a:endParaRPr lang="de-DE" sz="2400" dirty="0">
              <a:latin typeface="Lato" panose="020F0502020204030203" pitchFamily="34" charset="0"/>
            </a:endParaRP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E1A63F21-69BF-41CF-94F9-F04EA62A77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963" y="1825625"/>
            <a:ext cx="10936287" cy="4386263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600" spc="0">
                <a:solidFill>
                  <a:schemeClr val="tx1"/>
                </a:solidFill>
                <a:latin typeface="Lato" panose="020F0502020204030203" pitchFamily="34" charset="0"/>
              </a:defRPr>
            </a:lvl1pPr>
            <a:lvl2pPr>
              <a:defRPr>
                <a:latin typeface="Lato" panose="020F0502020204030203" pitchFamily="34" charset="0"/>
              </a:defRPr>
            </a:lvl2pPr>
            <a:lvl3pPr marL="914400" indent="0">
              <a:buNone/>
              <a:defRPr>
                <a:latin typeface="Lato" panose="020F0502020204030203" pitchFamily="34" charset="0"/>
              </a:defRPr>
            </a:lvl3pPr>
            <a:lvl4pPr marL="1371600" indent="0">
              <a:buNone/>
              <a:defRPr>
                <a:latin typeface="Lato" panose="020F0502020204030203" pitchFamily="34" charset="0"/>
              </a:defRPr>
            </a:lvl4pPr>
          </a:lstStyle>
          <a:p>
            <a:pPr lvl="0"/>
            <a:r>
              <a:rPr lang="de-DE" dirty="0"/>
              <a:t>Fließtext 16 Pt.</a:t>
            </a:r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4E0FF9B4-6117-4B87-9E61-BC0E994FE6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0000" y="6489639"/>
            <a:ext cx="6240000" cy="166784"/>
          </a:xfrm>
          <a:prstGeom prst="rect">
            <a:avLst/>
          </a:prstGeom>
        </p:spPr>
        <p:txBody>
          <a:bodyPr lIns="91430" tIns="0" rIns="91430" bIns="0"/>
          <a:lstStyle>
            <a:lvl1pPr algn="l">
              <a:defRPr sz="1000" b="0">
                <a:solidFill>
                  <a:srgbClr val="B3B3B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de-DE"/>
              <a:t>@2025 INNOWERK - FRANKFURT AM MAIN</a:t>
            </a:r>
            <a:endParaRPr lang="de-DE" dirty="0"/>
          </a:p>
        </p:txBody>
      </p:sp>
      <p:sp>
        <p:nvSpPr>
          <p:cNvPr id="17" name="Foliennummernplatzhalter 3">
            <a:extLst>
              <a:ext uri="{FF2B5EF4-FFF2-40B4-BE49-F238E27FC236}">
                <a16:creationId xmlns:a16="http://schemas.microsoft.com/office/drawing/2014/main" id="{3EAE28D9-29D7-4B2F-B37F-BE1D2C9450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2850" y="6489700"/>
            <a:ext cx="2819400" cy="161925"/>
          </a:xfrm>
          <a:prstGeom prst="rect">
            <a:avLst/>
          </a:prstGeom>
        </p:spPr>
        <p:txBody>
          <a:bodyPr/>
          <a:lstStyle>
            <a:lvl1pPr algn="r">
              <a:defRPr sz="1000" b="1">
                <a:solidFill>
                  <a:srgbClr val="B3B3B3"/>
                </a:solidFill>
                <a:latin typeface="+mn-lt"/>
              </a:defRPr>
            </a:lvl1pPr>
          </a:lstStyle>
          <a:p>
            <a:r>
              <a:rPr lang="de-DE" dirty="0"/>
              <a:t>SEITE </a:t>
            </a:r>
            <a:fld id="{44AC4DCE-31D8-40DA-8054-82557CC0B0B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Datumsplatzhalter 4">
            <a:extLst>
              <a:ext uri="{FF2B5EF4-FFF2-40B4-BE49-F238E27FC236}">
                <a16:creationId xmlns:a16="http://schemas.microsoft.com/office/drawing/2014/main" id="{71F6F9B9-AB3B-4DAE-A8D5-21EABF16135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831263" y="6313985"/>
            <a:ext cx="2820987" cy="16351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rgbClr val="B3B3B3"/>
                </a:solidFill>
                <a:latin typeface="Lato" panose="020F0502020204030203" pitchFamily="34" charset="0"/>
              </a:defRPr>
            </a:lvl1pPr>
          </a:lstStyle>
          <a:p>
            <a:r>
              <a:rPr lang="en-US"/>
              <a:t>6 November 202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9327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754">
          <p15:clr>
            <a:srgbClr val="FBAE40"/>
          </p15:clr>
        </p15:guide>
        <p15:guide id="3" pos="43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Slid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5260" y="496127"/>
            <a:ext cx="10936378" cy="341632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>
              <a:defRPr sz="2400" b="1" i="0" spc="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24 PT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3195EBB-543F-0B45-AA24-48318C41A6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5260" y="849303"/>
            <a:ext cx="1093637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 spc="0">
                <a:solidFill>
                  <a:schemeClr val="tx1"/>
                </a:solidFill>
                <a:latin typeface="Lato" panose="020F0502020204030203" pitchFamily="34" charset="0"/>
              </a:defRPr>
            </a:lvl1pPr>
          </a:lstStyle>
          <a:p>
            <a:pPr lvl="0"/>
            <a:r>
              <a:rPr lang="en-US" dirty="0"/>
              <a:t>CLICK TO ADD SUBTITLE 20 Pt.</a:t>
            </a:r>
            <a:endParaRPr lang="en-GB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7F86562-1E7B-4890-89EF-C85D421273E0}"/>
              </a:ext>
            </a:extLst>
          </p:cNvPr>
          <p:cNvSpPr/>
          <p:nvPr userDrawn="1"/>
        </p:nvSpPr>
        <p:spPr>
          <a:xfrm>
            <a:off x="576000" y="539751"/>
            <a:ext cx="72000" cy="576000"/>
          </a:xfrm>
          <a:prstGeom prst="rect">
            <a:avLst/>
          </a:prstGeom>
          <a:solidFill>
            <a:srgbClr val="0062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5" tIns="60943" rIns="121885" bIns="60943" rtlCol="0" anchor="ctr"/>
          <a:lstStyle/>
          <a:p>
            <a:pPr algn="ctr"/>
            <a:endParaRPr lang="de-DE" sz="2400" dirty="0">
              <a:latin typeface="Lato" panose="020F0502020204030203" pitchFamily="34" charset="0"/>
            </a:endParaRP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339E9D38-E790-4C06-9595-F92A5C3522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5260" y="1384599"/>
            <a:ext cx="10936378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800" b="0" spc="0" smtClean="0">
                <a:solidFill>
                  <a:schemeClr val="tx1"/>
                </a:solidFill>
                <a:latin typeface="Lato" panose="020F0502020204030203" pitchFamily="34" charset="0"/>
                <a:ea typeface="+mj-ea"/>
                <a:cs typeface="+mj-cs"/>
              </a:defRPr>
            </a:lvl1pPr>
            <a:lvl2pPr>
              <a:defRPr lang="en-GB" sz="2400" smtClean="0">
                <a:solidFill>
                  <a:schemeClr val="tx2"/>
                </a:solidFill>
              </a:defRPr>
            </a:lvl2pPr>
            <a:lvl3pPr>
              <a:defRPr lang="en-GB" sz="2400" smtClean="0">
                <a:solidFill>
                  <a:schemeClr val="tx2"/>
                </a:solidFill>
              </a:defRPr>
            </a:lvl3pPr>
            <a:lvl4pPr>
              <a:defRPr lang="en-GB" sz="2400" smtClean="0">
                <a:solidFill>
                  <a:schemeClr val="tx2"/>
                </a:solidFill>
              </a:defRPr>
            </a:lvl4pPr>
            <a:lvl5pPr>
              <a:defRPr lang="de-DE" sz="2400">
                <a:solidFill>
                  <a:schemeClr val="tx2"/>
                </a:solidFill>
              </a:defRPr>
            </a:lvl5pPr>
          </a:lstStyle>
          <a:p>
            <a:pPr marL="168140" lvl="0" indent="-380990">
              <a:lnSpc>
                <a:spcPct val="100000"/>
              </a:lnSpc>
              <a:spcBef>
                <a:spcPct val="0"/>
              </a:spcBef>
            </a:pPr>
            <a:r>
              <a:rPr lang="en-GB" dirty="0"/>
              <a:t>SUBTITLE 18 Pt.</a:t>
            </a:r>
            <a:endParaRPr lang="de-DE" dirty="0"/>
          </a:p>
        </p:txBody>
      </p:sp>
      <p:sp>
        <p:nvSpPr>
          <p:cNvPr id="12" name="Fußzeilenplatzhalter 15">
            <a:extLst>
              <a:ext uri="{FF2B5EF4-FFF2-40B4-BE49-F238E27FC236}">
                <a16:creationId xmlns:a16="http://schemas.microsoft.com/office/drawing/2014/main" id="{3E0635B3-0CD3-49DB-880A-C05823F04B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0000" y="6489639"/>
            <a:ext cx="6240000" cy="166784"/>
          </a:xfrm>
          <a:prstGeom prst="rect">
            <a:avLst/>
          </a:prstGeom>
        </p:spPr>
        <p:txBody>
          <a:bodyPr lIns="91430" tIns="0" rIns="91430" bIns="0"/>
          <a:lstStyle>
            <a:lvl1pPr algn="l">
              <a:defRPr sz="1000" b="0">
                <a:solidFill>
                  <a:srgbClr val="B3B3B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de-DE"/>
              <a:t>@2025 INNOWERK - FRANKFURT AM MAIN</a:t>
            </a:r>
            <a:endParaRPr lang="de-DE" dirty="0"/>
          </a:p>
        </p:txBody>
      </p:sp>
      <p:sp>
        <p:nvSpPr>
          <p:cNvPr id="13" name="Foliennummernplatzhalter 3">
            <a:extLst>
              <a:ext uri="{FF2B5EF4-FFF2-40B4-BE49-F238E27FC236}">
                <a16:creationId xmlns:a16="http://schemas.microsoft.com/office/drawing/2014/main" id="{BBBA9586-E4AF-49AF-8921-0B1222D374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2850" y="6489700"/>
            <a:ext cx="2819400" cy="161925"/>
          </a:xfrm>
          <a:prstGeom prst="rect">
            <a:avLst/>
          </a:prstGeom>
        </p:spPr>
        <p:txBody>
          <a:bodyPr/>
          <a:lstStyle>
            <a:lvl1pPr algn="r">
              <a:defRPr sz="1000" b="1">
                <a:solidFill>
                  <a:srgbClr val="B3B3B3"/>
                </a:solidFill>
                <a:latin typeface="+mn-lt"/>
              </a:defRPr>
            </a:lvl1pPr>
          </a:lstStyle>
          <a:p>
            <a:r>
              <a:rPr lang="de-DE" dirty="0"/>
              <a:t>PAGE </a:t>
            </a:r>
            <a:fld id="{44AC4DCE-31D8-40DA-8054-82557CC0B0B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Datumsplatzhalter 4">
            <a:extLst>
              <a:ext uri="{FF2B5EF4-FFF2-40B4-BE49-F238E27FC236}">
                <a16:creationId xmlns:a16="http://schemas.microsoft.com/office/drawing/2014/main" id="{5BDFE6C5-6B15-44DC-8F61-31072EF926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831263" y="6313985"/>
            <a:ext cx="2820987" cy="16351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rgbClr val="B3B3B3"/>
                </a:solidFill>
                <a:latin typeface="Lato" panose="020F0502020204030203" pitchFamily="34" charset="0"/>
              </a:defRPr>
            </a:lvl1pPr>
          </a:lstStyle>
          <a:p>
            <a:r>
              <a:rPr lang="en-US"/>
              <a:t>6 November 2025</a:t>
            </a:r>
            <a:endParaRPr lang="de-DE" dirty="0"/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77675112-0EB4-4079-AA2D-093BBDECA0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963" y="1825625"/>
            <a:ext cx="10936287" cy="4386263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600" spc="0" baseline="0">
                <a:solidFill>
                  <a:schemeClr val="tx1"/>
                </a:solidFill>
                <a:latin typeface="Lato" panose="020F0502020204030203" pitchFamily="34" charset="0"/>
              </a:defRPr>
            </a:lvl1pPr>
            <a:lvl2pPr>
              <a:defRPr>
                <a:latin typeface="Lato" panose="020F0502020204030203" pitchFamily="34" charset="0"/>
              </a:defRPr>
            </a:lvl2pPr>
            <a:lvl3pPr marL="914400" indent="0">
              <a:buNone/>
              <a:defRPr>
                <a:latin typeface="Lato" panose="020F0502020204030203" pitchFamily="34" charset="0"/>
              </a:defRPr>
            </a:lvl3pPr>
            <a:lvl4pPr marL="1371600" indent="0">
              <a:buNone/>
              <a:defRPr>
                <a:latin typeface="Lato" panose="020F0502020204030203" pitchFamily="34" charset="0"/>
              </a:defRPr>
            </a:lvl4pPr>
          </a:lstStyle>
          <a:p>
            <a:pPr lvl="0"/>
            <a:r>
              <a:rPr lang="de-DE" dirty="0"/>
              <a:t>Fließtext 16 Pt.</a:t>
            </a:r>
          </a:p>
        </p:txBody>
      </p:sp>
    </p:spTree>
    <p:extLst>
      <p:ext uri="{BB962C8B-B14F-4D97-AF65-F5344CB8AC3E}">
        <p14:creationId xmlns:p14="http://schemas.microsoft.com/office/powerpoint/2010/main" val="22812926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Slid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">
            <a:extLst>
              <a:ext uri="{FF2B5EF4-FFF2-40B4-BE49-F238E27FC236}">
                <a16:creationId xmlns:a16="http://schemas.microsoft.com/office/drawing/2014/main" id="{49C0A538-914E-45F7-AE50-95B92E0DB63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5" tIns="60943" rIns="121885" bIns="60943" rtlCol="0" anchor="ctr"/>
          <a:lstStyle/>
          <a:p>
            <a:pPr algn="ctr"/>
            <a:endParaRPr lang="en-US" sz="2400" dirty="0">
              <a:latin typeface="Lato" panose="020F050202020403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5260" y="496127"/>
            <a:ext cx="10936378" cy="341632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>
              <a:defRPr sz="2400" b="1" i="0" spc="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24 PT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3195EBB-543F-0B45-AA24-48318C41A6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5260" y="849303"/>
            <a:ext cx="1093637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 spc="0">
                <a:solidFill>
                  <a:schemeClr val="tx1"/>
                </a:solidFill>
                <a:latin typeface="Lato" panose="020F0502020204030203" pitchFamily="34" charset="0"/>
              </a:defRPr>
            </a:lvl1pPr>
          </a:lstStyle>
          <a:p>
            <a:pPr lvl="0"/>
            <a:r>
              <a:rPr lang="en-US" dirty="0"/>
              <a:t>CLICK TO ADD SUBTITLE 20 Pt.</a:t>
            </a:r>
            <a:endParaRPr lang="en-GB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7F86562-1E7B-4890-89EF-C85D421273E0}"/>
              </a:ext>
            </a:extLst>
          </p:cNvPr>
          <p:cNvSpPr/>
          <p:nvPr userDrawn="1"/>
        </p:nvSpPr>
        <p:spPr>
          <a:xfrm>
            <a:off x="576000" y="539751"/>
            <a:ext cx="72000" cy="576000"/>
          </a:xfrm>
          <a:prstGeom prst="rect">
            <a:avLst/>
          </a:prstGeom>
          <a:solidFill>
            <a:srgbClr val="0062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5" tIns="60943" rIns="121885" bIns="60943" rtlCol="0" anchor="ctr"/>
          <a:lstStyle/>
          <a:p>
            <a:pPr algn="ctr"/>
            <a:endParaRPr lang="de-DE" sz="2400" dirty="0">
              <a:latin typeface="Lato" panose="020F0502020204030203" pitchFamily="34" charset="0"/>
            </a:endParaRP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339E9D38-E790-4C06-9595-F92A5C3522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5260" y="1384599"/>
            <a:ext cx="10936378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800" b="0" spc="0" smtClean="0">
                <a:solidFill>
                  <a:schemeClr val="tx1"/>
                </a:solidFill>
                <a:latin typeface="Lato" panose="020F0502020204030203" pitchFamily="34" charset="0"/>
                <a:ea typeface="+mj-ea"/>
                <a:cs typeface="+mj-cs"/>
              </a:defRPr>
            </a:lvl1pPr>
            <a:lvl2pPr>
              <a:defRPr lang="en-GB" sz="2400" smtClean="0">
                <a:solidFill>
                  <a:schemeClr val="tx2"/>
                </a:solidFill>
              </a:defRPr>
            </a:lvl2pPr>
            <a:lvl3pPr>
              <a:defRPr lang="en-GB" sz="2400" smtClean="0">
                <a:solidFill>
                  <a:schemeClr val="tx2"/>
                </a:solidFill>
              </a:defRPr>
            </a:lvl3pPr>
            <a:lvl4pPr>
              <a:defRPr lang="en-GB" sz="2400" smtClean="0">
                <a:solidFill>
                  <a:schemeClr val="tx2"/>
                </a:solidFill>
              </a:defRPr>
            </a:lvl4pPr>
            <a:lvl5pPr>
              <a:defRPr lang="de-DE" sz="2400">
                <a:solidFill>
                  <a:schemeClr val="tx2"/>
                </a:solidFill>
              </a:defRPr>
            </a:lvl5pPr>
          </a:lstStyle>
          <a:p>
            <a:pPr marL="168140" lvl="0" indent="-380990">
              <a:lnSpc>
                <a:spcPct val="100000"/>
              </a:lnSpc>
              <a:spcBef>
                <a:spcPct val="0"/>
              </a:spcBef>
            </a:pPr>
            <a:r>
              <a:rPr lang="en-GB" dirty="0"/>
              <a:t>SUBTITLE 18 Pt.</a:t>
            </a:r>
            <a:endParaRPr lang="de-DE" dirty="0"/>
          </a:p>
        </p:txBody>
      </p:sp>
      <p:sp>
        <p:nvSpPr>
          <p:cNvPr id="12" name="Fußzeilenplatzhalter 15">
            <a:extLst>
              <a:ext uri="{FF2B5EF4-FFF2-40B4-BE49-F238E27FC236}">
                <a16:creationId xmlns:a16="http://schemas.microsoft.com/office/drawing/2014/main" id="{3E0635B3-0CD3-49DB-880A-C05823F04B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0000" y="6489639"/>
            <a:ext cx="6240000" cy="166784"/>
          </a:xfrm>
          <a:prstGeom prst="rect">
            <a:avLst/>
          </a:prstGeom>
        </p:spPr>
        <p:txBody>
          <a:bodyPr lIns="91430" tIns="0" rIns="91430" bIns="0"/>
          <a:lstStyle>
            <a:lvl1pPr algn="l">
              <a:defRPr sz="1000" b="0">
                <a:solidFill>
                  <a:srgbClr val="B3B3B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de-DE"/>
              <a:t>@2025 INNOWERK - FRANKFURT AM MAIN</a:t>
            </a:r>
            <a:endParaRPr lang="de-DE" dirty="0"/>
          </a:p>
        </p:txBody>
      </p:sp>
      <p:sp>
        <p:nvSpPr>
          <p:cNvPr id="13" name="Foliennummernplatzhalter 3">
            <a:extLst>
              <a:ext uri="{FF2B5EF4-FFF2-40B4-BE49-F238E27FC236}">
                <a16:creationId xmlns:a16="http://schemas.microsoft.com/office/drawing/2014/main" id="{BBBA9586-E4AF-49AF-8921-0B1222D374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2850" y="6489700"/>
            <a:ext cx="2819400" cy="161925"/>
          </a:xfrm>
          <a:prstGeom prst="rect">
            <a:avLst/>
          </a:prstGeom>
        </p:spPr>
        <p:txBody>
          <a:bodyPr/>
          <a:lstStyle>
            <a:lvl1pPr algn="r">
              <a:defRPr sz="1000" b="1">
                <a:solidFill>
                  <a:srgbClr val="B3B3B3"/>
                </a:solidFill>
                <a:latin typeface="+mn-lt"/>
              </a:defRPr>
            </a:lvl1pPr>
          </a:lstStyle>
          <a:p>
            <a:r>
              <a:rPr lang="de-DE" dirty="0"/>
              <a:t>SEITE </a:t>
            </a:r>
            <a:fld id="{44AC4DCE-31D8-40DA-8054-82557CC0B0B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Datumsplatzhalter 4">
            <a:extLst>
              <a:ext uri="{FF2B5EF4-FFF2-40B4-BE49-F238E27FC236}">
                <a16:creationId xmlns:a16="http://schemas.microsoft.com/office/drawing/2014/main" id="{5BDFE6C5-6B15-44DC-8F61-31072EF926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831263" y="6313985"/>
            <a:ext cx="2820987" cy="16351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rgbClr val="B3B3B3"/>
                </a:solidFill>
                <a:latin typeface="Lato" panose="020F0502020204030203" pitchFamily="34" charset="0"/>
              </a:defRPr>
            </a:lvl1pPr>
          </a:lstStyle>
          <a:p>
            <a:r>
              <a:rPr lang="en-US"/>
              <a:t>6 November 2025</a:t>
            </a:r>
            <a:endParaRPr lang="de-DE" dirty="0"/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77675112-0EB4-4079-AA2D-093BBDECA0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963" y="1825625"/>
            <a:ext cx="10936287" cy="4386263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600" spc="0">
                <a:latin typeface="Lato" panose="020F0502020204030203" pitchFamily="34" charset="0"/>
              </a:defRPr>
            </a:lvl1pPr>
            <a:lvl2pPr>
              <a:defRPr>
                <a:latin typeface="Lato" panose="020F0502020204030203" pitchFamily="34" charset="0"/>
              </a:defRPr>
            </a:lvl2pPr>
            <a:lvl3pPr marL="914400" indent="0">
              <a:buNone/>
              <a:defRPr>
                <a:latin typeface="Lato" panose="020F0502020204030203" pitchFamily="34" charset="0"/>
              </a:defRPr>
            </a:lvl3pPr>
            <a:lvl4pPr marL="1371600" indent="0">
              <a:buNone/>
              <a:defRPr>
                <a:latin typeface="Lato" panose="020F0502020204030203" pitchFamily="34" charset="0"/>
              </a:defRPr>
            </a:lvl4pPr>
          </a:lstStyle>
          <a:p>
            <a:pPr lvl="0"/>
            <a:r>
              <a:rPr lang="de-DE" dirty="0"/>
              <a:t>Fließtext 16 Pt.</a:t>
            </a:r>
          </a:p>
        </p:txBody>
      </p:sp>
      <p:pic>
        <p:nvPicPr>
          <p:cNvPr id="15" name="Grafik 14" descr="Ein Bild, das Text enthält.&#10;&#10;Automatisch generierte Beschreibung">
            <a:extLst>
              <a:ext uri="{FF2B5EF4-FFF2-40B4-BE49-F238E27FC236}">
                <a16:creationId xmlns:a16="http://schemas.microsoft.com/office/drawing/2014/main" id="{99A4BF46-DBF9-44FE-968B-FC4570B2D3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2820" y="495397"/>
            <a:ext cx="1179180" cy="396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2041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Slid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E753FB8E-E89C-4A42-B4FF-CE82F1F462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-1"/>
            <a:ext cx="3117955" cy="6858001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buNone/>
              <a:defRPr>
                <a:latin typeface="Lato" panose="020F0502020204030203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C355E5B-D36D-470B-B70E-78BD2AB589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757" y="496127"/>
            <a:ext cx="7901881" cy="341632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>
              <a:defRPr sz="2400" b="1" i="0" spc="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8730F23-FC45-4C06-917F-8FDC74B814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757" y="849303"/>
            <a:ext cx="7901881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Lato" panose="020F0502020204030203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7E9F58F-5594-4B5A-97C5-7E8EE5E6FF3E}"/>
              </a:ext>
            </a:extLst>
          </p:cNvPr>
          <p:cNvSpPr/>
          <p:nvPr userDrawn="1"/>
        </p:nvSpPr>
        <p:spPr>
          <a:xfrm>
            <a:off x="3610497" y="539751"/>
            <a:ext cx="72000" cy="576000"/>
          </a:xfrm>
          <a:prstGeom prst="rect">
            <a:avLst/>
          </a:prstGeom>
          <a:solidFill>
            <a:srgbClr val="0062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5" tIns="60943" rIns="121885" bIns="60943" rtlCol="0" anchor="ctr"/>
          <a:lstStyle/>
          <a:p>
            <a:pPr algn="ctr"/>
            <a:endParaRPr lang="de-DE" sz="2400" dirty="0">
              <a:latin typeface="Lato" panose="020F0502020204030203" pitchFamily="34" charset="0"/>
            </a:endParaRP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E99BB5CF-64BB-4EB1-8CD7-190C972061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49757" y="1384599"/>
            <a:ext cx="7901881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800" b="0" smtClean="0">
                <a:solidFill>
                  <a:schemeClr val="tx1"/>
                </a:solidFill>
                <a:latin typeface="Lato" panose="020F0502020204030203" pitchFamily="34" charset="0"/>
                <a:ea typeface="+mj-ea"/>
                <a:cs typeface="+mj-cs"/>
              </a:defRPr>
            </a:lvl1pPr>
            <a:lvl2pPr>
              <a:defRPr lang="en-GB" sz="2400" smtClean="0">
                <a:solidFill>
                  <a:schemeClr val="tx2"/>
                </a:solidFill>
              </a:defRPr>
            </a:lvl2pPr>
            <a:lvl3pPr>
              <a:defRPr lang="en-GB" sz="2400" smtClean="0">
                <a:solidFill>
                  <a:schemeClr val="tx2"/>
                </a:solidFill>
              </a:defRPr>
            </a:lvl3pPr>
            <a:lvl4pPr>
              <a:defRPr lang="en-GB" sz="2400" smtClean="0">
                <a:solidFill>
                  <a:schemeClr val="tx2"/>
                </a:solidFill>
              </a:defRPr>
            </a:lvl4pPr>
            <a:lvl5pPr>
              <a:defRPr lang="de-DE" sz="2400">
                <a:solidFill>
                  <a:schemeClr val="tx2"/>
                </a:solidFill>
              </a:defRPr>
            </a:lvl5pPr>
          </a:lstStyle>
          <a:p>
            <a:pPr marL="168140" lvl="0" indent="-380990">
              <a:lnSpc>
                <a:spcPct val="100000"/>
              </a:lnSpc>
              <a:spcBef>
                <a:spcPct val="0"/>
              </a:spcBef>
            </a:pPr>
            <a:r>
              <a:rPr lang="en-GB" dirty="0"/>
              <a:t>SUBTITLE 18 Pt.</a:t>
            </a:r>
            <a:endParaRPr lang="de-DE" dirty="0"/>
          </a:p>
        </p:txBody>
      </p:sp>
      <p:sp>
        <p:nvSpPr>
          <p:cNvPr id="12" name="Fußzeilenplatzhalter 15">
            <a:extLst>
              <a:ext uri="{FF2B5EF4-FFF2-40B4-BE49-F238E27FC236}">
                <a16:creationId xmlns:a16="http://schemas.microsoft.com/office/drawing/2014/main" id="{C6117C3E-B0E0-4084-8D32-4B6862C976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0000" y="6489639"/>
            <a:ext cx="6240000" cy="166784"/>
          </a:xfrm>
          <a:prstGeom prst="rect">
            <a:avLst/>
          </a:prstGeom>
        </p:spPr>
        <p:txBody>
          <a:bodyPr lIns="91430" tIns="0" rIns="91430" bIns="0"/>
          <a:lstStyle>
            <a:lvl1pPr algn="l">
              <a:defRPr sz="1000" b="0">
                <a:solidFill>
                  <a:srgbClr val="B3B3B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de-DE"/>
              <a:t>@2025 INNOWERK - FRANKFURT AM MAIN</a:t>
            </a:r>
            <a:endParaRPr lang="de-DE" dirty="0"/>
          </a:p>
        </p:txBody>
      </p:sp>
      <p:sp>
        <p:nvSpPr>
          <p:cNvPr id="13" name="Foliennummernplatzhalter 3">
            <a:extLst>
              <a:ext uri="{FF2B5EF4-FFF2-40B4-BE49-F238E27FC236}">
                <a16:creationId xmlns:a16="http://schemas.microsoft.com/office/drawing/2014/main" id="{C3D40894-B5BC-4D91-862E-155AD8CE86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2850" y="6489700"/>
            <a:ext cx="2819400" cy="161925"/>
          </a:xfrm>
          <a:prstGeom prst="rect">
            <a:avLst/>
          </a:prstGeom>
        </p:spPr>
        <p:txBody>
          <a:bodyPr/>
          <a:lstStyle>
            <a:lvl1pPr algn="r">
              <a:defRPr sz="1000" b="1">
                <a:solidFill>
                  <a:srgbClr val="B3B3B3"/>
                </a:solidFill>
                <a:latin typeface="+mn-lt"/>
              </a:defRPr>
            </a:lvl1pPr>
          </a:lstStyle>
          <a:p>
            <a:r>
              <a:rPr lang="de-DE" dirty="0"/>
              <a:t>SEITE </a:t>
            </a:r>
            <a:fld id="{44AC4DCE-31D8-40DA-8054-82557CC0B0B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Datumsplatzhalter 4">
            <a:extLst>
              <a:ext uri="{FF2B5EF4-FFF2-40B4-BE49-F238E27FC236}">
                <a16:creationId xmlns:a16="http://schemas.microsoft.com/office/drawing/2014/main" id="{D9202D5E-7DEC-4805-8991-279996F96F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831263" y="6313985"/>
            <a:ext cx="2820987" cy="16351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rgbClr val="B3B3B3"/>
                </a:solidFill>
                <a:latin typeface="Lato" panose="020F0502020204030203" pitchFamily="34" charset="0"/>
              </a:defRPr>
            </a:lvl1pPr>
          </a:lstStyle>
          <a:p>
            <a:r>
              <a:rPr lang="en-US"/>
              <a:t>6 November 2025</a:t>
            </a:r>
            <a:endParaRPr lang="de-DE" dirty="0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A4C0361D-FAF4-451D-9C53-62A98F1F14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49757" y="1825625"/>
            <a:ext cx="7902493" cy="4386263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600" spc="0">
                <a:solidFill>
                  <a:schemeClr val="tx1"/>
                </a:solidFill>
                <a:latin typeface="Lato" panose="020F0502020204030203" pitchFamily="34" charset="0"/>
              </a:defRPr>
            </a:lvl1pPr>
            <a:lvl2pPr>
              <a:defRPr>
                <a:latin typeface="Lato" panose="020F0502020204030203" pitchFamily="34" charset="0"/>
              </a:defRPr>
            </a:lvl2pPr>
            <a:lvl3pPr marL="914400" indent="0">
              <a:buNone/>
              <a:defRPr>
                <a:latin typeface="Lato" panose="020F0502020204030203" pitchFamily="34" charset="0"/>
              </a:defRPr>
            </a:lvl3pPr>
            <a:lvl4pPr marL="1371600" indent="0">
              <a:buNone/>
              <a:defRPr>
                <a:latin typeface="Lato" panose="020F0502020204030203" pitchFamily="34" charset="0"/>
              </a:defRPr>
            </a:lvl4pPr>
          </a:lstStyle>
          <a:p>
            <a:pPr lvl="0"/>
            <a:r>
              <a:rPr lang="de-DE" dirty="0"/>
              <a:t>Dritte ebene 16 Pt.</a:t>
            </a:r>
          </a:p>
        </p:txBody>
      </p:sp>
    </p:spTree>
    <p:extLst>
      <p:ext uri="{BB962C8B-B14F-4D97-AF65-F5344CB8AC3E}">
        <p14:creationId xmlns:p14="http://schemas.microsoft.com/office/powerpoint/2010/main" val="38700934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 Slid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16037957-713B-4688-9B99-EA460E14545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-1"/>
            <a:ext cx="4345519" cy="6858001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buNone/>
              <a:defRPr>
                <a:latin typeface="Lato" panose="020F0502020204030203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8EE3C47-9A2E-49D9-8691-44189E00E2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80411" y="496127"/>
            <a:ext cx="6671227" cy="341632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>
              <a:defRPr sz="2400" b="1" i="0" spc="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08A4AC0-1DDF-4B04-B1D9-2EF81D03F8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0411" y="849303"/>
            <a:ext cx="6671227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Lato" panose="020F0502020204030203" pitchFamily="34" charset="0"/>
              </a:defRPr>
            </a:lvl1pPr>
          </a:lstStyle>
          <a:p>
            <a:pPr lvl="0"/>
            <a:r>
              <a:rPr lang="en-US" dirty="0"/>
              <a:t>CLICK TO ADD SUBTITLE 20 Pt.</a:t>
            </a:r>
            <a:endParaRPr lang="en-GB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35F3D35-17EA-4623-A406-838D3942AEB2}"/>
              </a:ext>
            </a:extLst>
          </p:cNvPr>
          <p:cNvSpPr/>
          <p:nvPr userDrawn="1"/>
        </p:nvSpPr>
        <p:spPr>
          <a:xfrm>
            <a:off x="4841151" y="539751"/>
            <a:ext cx="72000" cy="576000"/>
          </a:xfrm>
          <a:prstGeom prst="rect">
            <a:avLst/>
          </a:prstGeom>
          <a:solidFill>
            <a:srgbClr val="0062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5" tIns="60943" rIns="121885" bIns="60943" rtlCol="0" anchor="ctr"/>
          <a:lstStyle/>
          <a:p>
            <a:pPr algn="ctr"/>
            <a:endParaRPr lang="de-DE" sz="2400" dirty="0">
              <a:latin typeface="Lato" panose="020F0502020204030203" pitchFamily="34" charset="0"/>
            </a:endParaRP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0D27BE32-B2E1-4A83-9E60-7C15014C66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80411" y="1384599"/>
            <a:ext cx="667122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800" b="0" smtClean="0">
                <a:solidFill>
                  <a:schemeClr val="tx1"/>
                </a:solidFill>
                <a:latin typeface="Lato" panose="020F0502020204030203" pitchFamily="34" charset="0"/>
                <a:ea typeface="+mj-ea"/>
                <a:cs typeface="+mj-cs"/>
              </a:defRPr>
            </a:lvl1pPr>
            <a:lvl2pPr>
              <a:defRPr lang="en-GB" sz="2400" smtClean="0">
                <a:solidFill>
                  <a:schemeClr val="tx2"/>
                </a:solidFill>
              </a:defRPr>
            </a:lvl2pPr>
            <a:lvl3pPr>
              <a:defRPr lang="en-GB" sz="2400" smtClean="0">
                <a:solidFill>
                  <a:schemeClr val="tx2"/>
                </a:solidFill>
              </a:defRPr>
            </a:lvl3pPr>
            <a:lvl4pPr>
              <a:defRPr lang="en-GB" sz="2400" smtClean="0">
                <a:solidFill>
                  <a:schemeClr val="tx2"/>
                </a:solidFill>
              </a:defRPr>
            </a:lvl4pPr>
            <a:lvl5pPr>
              <a:defRPr lang="de-DE" sz="2400">
                <a:solidFill>
                  <a:schemeClr val="tx2"/>
                </a:solidFill>
              </a:defRPr>
            </a:lvl5pPr>
          </a:lstStyle>
          <a:p>
            <a:pPr marL="168140" lvl="0" indent="-380990">
              <a:lnSpc>
                <a:spcPct val="100000"/>
              </a:lnSpc>
              <a:spcBef>
                <a:spcPct val="0"/>
              </a:spcBef>
            </a:pPr>
            <a:r>
              <a:rPr lang="en-GB" dirty="0"/>
              <a:t>SUBTITLE 18 Pt.</a:t>
            </a:r>
            <a:endParaRPr lang="de-DE" dirty="0"/>
          </a:p>
        </p:txBody>
      </p:sp>
      <p:sp>
        <p:nvSpPr>
          <p:cNvPr id="13" name="Fußzeilenplatzhalter 15">
            <a:extLst>
              <a:ext uri="{FF2B5EF4-FFF2-40B4-BE49-F238E27FC236}">
                <a16:creationId xmlns:a16="http://schemas.microsoft.com/office/drawing/2014/main" id="{5D2E9AA3-F0BA-4131-BC27-616055BEC5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0000" y="6489639"/>
            <a:ext cx="6240000" cy="166784"/>
          </a:xfrm>
          <a:prstGeom prst="rect">
            <a:avLst/>
          </a:prstGeom>
        </p:spPr>
        <p:txBody>
          <a:bodyPr lIns="91430" tIns="0" rIns="91430" bIns="0"/>
          <a:lstStyle>
            <a:lvl1pPr algn="l">
              <a:defRPr sz="1000" b="0">
                <a:solidFill>
                  <a:srgbClr val="B3B3B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de-DE"/>
              <a:t>@2025 INNOWERK - FRANKFURT AM MAIN</a:t>
            </a:r>
            <a:endParaRPr lang="de-DE" dirty="0"/>
          </a:p>
        </p:txBody>
      </p:sp>
      <p:sp>
        <p:nvSpPr>
          <p:cNvPr id="17" name="Foliennummernplatzhalter 3">
            <a:extLst>
              <a:ext uri="{FF2B5EF4-FFF2-40B4-BE49-F238E27FC236}">
                <a16:creationId xmlns:a16="http://schemas.microsoft.com/office/drawing/2014/main" id="{32DF394F-A344-4D03-92A0-B1CBCE97B4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2850" y="6489700"/>
            <a:ext cx="2819400" cy="161925"/>
          </a:xfrm>
          <a:prstGeom prst="rect">
            <a:avLst/>
          </a:prstGeom>
        </p:spPr>
        <p:txBody>
          <a:bodyPr/>
          <a:lstStyle>
            <a:lvl1pPr algn="r">
              <a:defRPr sz="1000" b="1">
                <a:solidFill>
                  <a:srgbClr val="B3B3B3"/>
                </a:solidFill>
                <a:latin typeface="+mn-lt"/>
              </a:defRPr>
            </a:lvl1pPr>
          </a:lstStyle>
          <a:p>
            <a:r>
              <a:rPr lang="de-DE" dirty="0"/>
              <a:t>SEITE </a:t>
            </a:r>
            <a:fld id="{44AC4DCE-31D8-40DA-8054-82557CC0B0B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Datumsplatzhalter 4">
            <a:extLst>
              <a:ext uri="{FF2B5EF4-FFF2-40B4-BE49-F238E27FC236}">
                <a16:creationId xmlns:a16="http://schemas.microsoft.com/office/drawing/2014/main" id="{7BDA42EB-D24C-4223-9911-E2531495BF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831263" y="6313985"/>
            <a:ext cx="2820987" cy="16351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rgbClr val="B3B3B3"/>
                </a:solidFill>
                <a:latin typeface="Lato" panose="020F0502020204030203" pitchFamily="34" charset="0"/>
              </a:defRPr>
            </a:lvl1pPr>
          </a:lstStyle>
          <a:p>
            <a:r>
              <a:rPr lang="en-US"/>
              <a:t>6 November 2025</a:t>
            </a:r>
            <a:endParaRPr lang="de-DE" dirty="0"/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EA268D81-81C9-499B-8CA4-9140954412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80411" y="1825625"/>
            <a:ext cx="6671839" cy="4386263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600" spc="0">
                <a:latin typeface="Lato" panose="020F0502020204030203" pitchFamily="34" charset="0"/>
              </a:defRPr>
            </a:lvl1pPr>
            <a:lvl2pPr>
              <a:defRPr>
                <a:latin typeface="Lato" panose="020F0502020204030203" pitchFamily="34" charset="0"/>
              </a:defRPr>
            </a:lvl2pPr>
            <a:lvl3pPr marL="914400" indent="0">
              <a:buNone/>
              <a:defRPr>
                <a:latin typeface="Lato" panose="020F0502020204030203" pitchFamily="34" charset="0"/>
              </a:defRPr>
            </a:lvl3pPr>
            <a:lvl4pPr marL="1371600" indent="0">
              <a:buNone/>
              <a:defRPr>
                <a:latin typeface="Lato" panose="020F0502020204030203" pitchFamily="34" charset="0"/>
              </a:defRPr>
            </a:lvl4pPr>
          </a:lstStyle>
          <a:p>
            <a:pPr lvl="0"/>
            <a:r>
              <a:rPr lang="de-DE" dirty="0"/>
              <a:t>Dritte ebene 16 Pt.</a:t>
            </a:r>
          </a:p>
        </p:txBody>
      </p:sp>
    </p:spTree>
    <p:extLst>
      <p:ext uri="{BB962C8B-B14F-4D97-AF65-F5344CB8AC3E}">
        <p14:creationId xmlns:p14="http://schemas.microsoft.com/office/powerpoint/2010/main" val="12841786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 Slid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CA2B5466-EDCB-4421-BA7A-2B6F29FDEB1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 flipH="1">
            <a:off x="0" y="-1"/>
            <a:ext cx="6096000" cy="6858001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buNone/>
              <a:defRPr>
                <a:latin typeface="Lato" panose="020F0502020204030203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D81F0558-7C4F-49FD-B390-54FE7575B5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50883" y="505360"/>
            <a:ext cx="4900756" cy="332399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>
              <a:defRPr sz="2400" b="1" i="0" spc="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2492C050-F405-4AE7-AF0C-F2E1E14CE9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50883" y="849303"/>
            <a:ext cx="4900756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Lato" panose="020F0502020204030203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5BB73018-4DE2-4EFA-A29B-C413A1B0B785}"/>
              </a:ext>
            </a:extLst>
          </p:cNvPr>
          <p:cNvSpPr/>
          <p:nvPr userDrawn="1"/>
        </p:nvSpPr>
        <p:spPr>
          <a:xfrm>
            <a:off x="6611622" y="539751"/>
            <a:ext cx="72000" cy="576000"/>
          </a:xfrm>
          <a:prstGeom prst="rect">
            <a:avLst/>
          </a:prstGeom>
          <a:solidFill>
            <a:srgbClr val="0062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5" tIns="60943" rIns="121885" bIns="60943" rtlCol="0" anchor="ctr"/>
          <a:lstStyle/>
          <a:p>
            <a:pPr algn="ctr"/>
            <a:endParaRPr lang="de-DE" sz="2400" dirty="0">
              <a:latin typeface="Lato" panose="020F0502020204030203" pitchFamily="34" charset="0"/>
            </a:endParaRP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3B85324F-349E-4E9D-BAA6-9FCC27104A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50882" y="1384599"/>
            <a:ext cx="490075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800" b="0" baseline="0" smtClean="0">
                <a:solidFill>
                  <a:schemeClr val="tx1"/>
                </a:solidFill>
                <a:latin typeface="Lato" panose="020F0502020204030203" pitchFamily="34" charset="0"/>
                <a:ea typeface="+mj-ea"/>
                <a:cs typeface="+mj-cs"/>
              </a:defRPr>
            </a:lvl1pPr>
            <a:lvl2pPr>
              <a:defRPr lang="en-GB" sz="2400" smtClean="0">
                <a:solidFill>
                  <a:schemeClr val="tx2"/>
                </a:solidFill>
              </a:defRPr>
            </a:lvl2pPr>
            <a:lvl3pPr>
              <a:defRPr lang="en-GB" sz="2400" smtClean="0">
                <a:solidFill>
                  <a:schemeClr val="tx2"/>
                </a:solidFill>
              </a:defRPr>
            </a:lvl3pPr>
            <a:lvl4pPr>
              <a:defRPr lang="en-GB" sz="2400" smtClean="0">
                <a:solidFill>
                  <a:schemeClr val="tx2"/>
                </a:solidFill>
              </a:defRPr>
            </a:lvl4pPr>
            <a:lvl5pPr>
              <a:defRPr lang="de-DE" sz="2400">
                <a:solidFill>
                  <a:schemeClr val="tx2"/>
                </a:solidFill>
              </a:defRPr>
            </a:lvl5pPr>
          </a:lstStyle>
          <a:p>
            <a:pPr marL="168140" lvl="0" indent="-380990">
              <a:lnSpc>
                <a:spcPct val="100000"/>
              </a:lnSpc>
              <a:spcBef>
                <a:spcPct val="0"/>
              </a:spcBef>
            </a:pPr>
            <a:r>
              <a:rPr lang="en-GB" dirty="0"/>
              <a:t>SUBTITLE 18 Pt.</a:t>
            </a:r>
            <a:endParaRPr lang="de-DE" dirty="0"/>
          </a:p>
        </p:txBody>
      </p:sp>
      <p:sp>
        <p:nvSpPr>
          <p:cNvPr id="13" name="Fußzeilenplatzhalter 15">
            <a:extLst>
              <a:ext uri="{FF2B5EF4-FFF2-40B4-BE49-F238E27FC236}">
                <a16:creationId xmlns:a16="http://schemas.microsoft.com/office/drawing/2014/main" id="{92498A9F-7019-4B80-B521-A6F3F8B8A4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0000" y="6489639"/>
            <a:ext cx="6240000" cy="166784"/>
          </a:xfrm>
          <a:prstGeom prst="rect">
            <a:avLst/>
          </a:prstGeom>
        </p:spPr>
        <p:txBody>
          <a:bodyPr lIns="91430" tIns="0" rIns="91430" bIns="0"/>
          <a:lstStyle>
            <a:lvl1pPr algn="l">
              <a:defRPr sz="1000" b="0">
                <a:solidFill>
                  <a:srgbClr val="B3B3B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de-DE"/>
              <a:t>@2025 INNOWERK - FRANKFURT AM MAIN</a:t>
            </a:r>
            <a:endParaRPr lang="de-DE" dirty="0"/>
          </a:p>
        </p:txBody>
      </p:sp>
      <p:sp>
        <p:nvSpPr>
          <p:cNvPr id="14" name="Foliennummernplatzhalter 3">
            <a:extLst>
              <a:ext uri="{FF2B5EF4-FFF2-40B4-BE49-F238E27FC236}">
                <a16:creationId xmlns:a16="http://schemas.microsoft.com/office/drawing/2014/main" id="{2C02CDE8-5137-40D3-A902-6DB69BD0A5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2850" y="6489700"/>
            <a:ext cx="2819400" cy="161925"/>
          </a:xfrm>
          <a:prstGeom prst="rect">
            <a:avLst/>
          </a:prstGeom>
        </p:spPr>
        <p:txBody>
          <a:bodyPr/>
          <a:lstStyle>
            <a:lvl1pPr algn="r">
              <a:defRPr sz="1000" b="1">
                <a:solidFill>
                  <a:srgbClr val="B3B3B3"/>
                </a:solidFill>
                <a:latin typeface="+mn-lt"/>
              </a:defRPr>
            </a:lvl1pPr>
          </a:lstStyle>
          <a:p>
            <a:r>
              <a:rPr lang="de-DE" dirty="0"/>
              <a:t>SEITE </a:t>
            </a:r>
            <a:fld id="{44AC4DCE-31D8-40DA-8054-82557CC0B0B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Datumsplatzhalter 4">
            <a:extLst>
              <a:ext uri="{FF2B5EF4-FFF2-40B4-BE49-F238E27FC236}">
                <a16:creationId xmlns:a16="http://schemas.microsoft.com/office/drawing/2014/main" id="{A749A477-8787-4899-BD30-7E71F9A9F2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831263" y="6313985"/>
            <a:ext cx="2820987" cy="16351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rgbClr val="B3B3B3"/>
                </a:solidFill>
                <a:latin typeface="Lato" panose="020F0502020204030203" pitchFamily="34" charset="0"/>
              </a:defRPr>
            </a:lvl1pPr>
          </a:lstStyle>
          <a:p>
            <a:r>
              <a:rPr lang="en-US"/>
              <a:t>6 November 2025</a:t>
            </a:r>
            <a:endParaRPr lang="de-DE" dirty="0"/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200A8F26-F518-478B-AC8F-084BEAD279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50882" y="1825625"/>
            <a:ext cx="4901368" cy="4386263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600" spc="0">
                <a:solidFill>
                  <a:schemeClr val="tx1"/>
                </a:solidFill>
                <a:latin typeface="Lato" panose="020F0502020204030203" pitchFamily="34" charset="0"/>
              </a:defRPr>
            </a:lvl1pPr>
            <a:lvl2pPr>
              <a:defRPr>
                <a:latin typeface="Lato" panose="020F0502020204030203" pitchFamily="34" charset="0"/>
              </a:defRPr>
            </a:lvl2pPr>
            <a:lvl3pPr marL="914400" indent="0">
              <a:buNone/>
              <a:defRPr>
                <a:latin typeface="Lato" panose="020F0502020204030203" pitchFamily="34" charset="0"/>
              </a:defRPr>
            </a:lvl3pPr>
            <a:lvl4pPr marL="1371600" indent="0">
              <a:buNone/>
              <a:defRPr>
                <a:latin typeface="Lato" panose="020F0502020204030203" pitchFamily="34" charset="0"/>
              </a:defRPr>
            </a:lvl4pPr>
          </a:lstStyle>
          <a:p>
            <a:pPr lvl="0"/>
            <a:r>
              <a:rPr lang="de-DE" dirty="0"/>
              <a:t>Dritte ebene 16 Pt.</a:t>
            </a:r>
          </a:p>
        </p:txBody>
      </p:sp>
    </p:spTree>
    <p:extLst>
      <p:ext uri="{BB962C8B-B14F-4D97-AF65-F5344CB8AC3E}">
        <p14:creationId xmlns:p14="http://schemas.microsoft.com/office/powerpoint/2010/main" val="2977812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 Slid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B6C891B9-7316-4F61-B1FE-CA48115AF17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074045" y="-1"/>
            <a:ext cx="3117955" cy="6858001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buNone/>
              <a:defRPr>
                <a:latin typeface="Lato" panose="020F0502020204030203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7F86562-1E7B-4890-89EF-C85D421273E0}"/>
              </a:ext>
            </a:extLst>
          </p:cNvPr>
          <p:cNvSpPr/>
          <p:nvPr userDrawn="1"/>
        </p:nvSpPr>
        <p:spPr>
          <a:xfrm>
            <a:off x="576000" y="539751"/>
            <a:ext cx="72000" cy="576000"/>
          </a:xfrm>
          <a:prstGeom prst="rect">
            <a:avLst/>
          </a:prstGeom>
          <a:solidFill>
            <a:srgbClr val="0062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5" tIns="60943" rIns="121885" bIns="60943" rtlCol="0" anchor="ctr"/>
          <a:lstStyle/>
          <a:p>
            <a:pPr algn="ctr"/>
            <a:endParaRPr lang="de-DE" sz="2400" dirty="0">
              <a:latin typeface="Lato" panose="020F0502020204030203" pitchFamily="34" charset="0"/>
            </a:endParaRPr>
          </a:p>
        </p:txBody>
      </p:sp>
      <p:pic>
        <p:nvPicPr>
          <p:cNvPr id="13" name="Picture 14" descr="Text&#10;&#10;Description automatically generated">
            <a:extLst>
              <a:ext uri="{FF2B5EF4-FFF2-40B4-BE49-F238E27FC236}">
                <a16:creationId xmlns:a16="http://schemas.microsoft.com/office/drawing/2014/main" id="{946A6864-7ED5-4915-B74F-4AA18520EB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2820" y="507852"/>
            <a:ext cx="1179180" cy="39634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B238CD0D-2DF7-472E-8A97-26631B6887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260" y="505360"/>
            <a:ext cx="5237545" cy="332399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>
              <a:defRPr sz="2400" b="1" i="0" spc="3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EDIT MASTER 24 Pt.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03A32CC-6306-4A4F-9504-22D23F1BD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5260" y="849303"/>
            <a:ext cx="5237545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Lato" panose="020F0502020204030203" pitchFamily="34" charset="0"/>
              </a:defRPr>
            </a:lvl1pPr>
          </a:lstStyle>
          <a:p>
            <a:pPr lvl="0"/>
            <a:r>
              <a:rPr lang="en-US" dirty="0"/>
              <a:t>CLICK TO ADD SUBTITLE 20 Pt.</a:t>
            </a:r>
            <a:endParaRPr lang="en-GB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BAD606E-309B-40EE-B8C6-B189BB2181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5260" y="1384599"/>
            <a:ext cx="5237545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800" b="0" smtClean="0">
                <a:solidFill>
                  <a:schemeClr val="tx1"/>
                </a:solidFill>
                <a:latin typeface="Lato" panose="020F0502020204030203" pitchFamily="34" charset="0"/>
                <a:ea typeface="+mj-ea"/>
                <a:cs typeface="+mj-cs"/>
              </a:defRPr>
            </a:lvl1pPr>
            <a:lvl2pPr>
              <a:defRPr lang="en-GB" sz="2400" smtClean="0">
                <a:solidFill>
                  <a:schemeClr val="tx2"/>
                </a:solidFill>
              </a:defRPr>
            </a:lvl2pPr>
            <a:lvl3pPr>
              <a:defRPr lang="en-GB" sz="2400" smtClean="0">
                <a:solidFill>
                  <a:schemeClr val="tx2"/>
                </a:solidFill>
              </a:defRPr>
            </a:lvl3pPr>
            <a:lvl4pPr>
              <a:defRPr lang="en-GB" sz="2400" smtClean="0">
                <a:solidFill>
                  <a:schemeClr val="tx2"/>
                </a:solidFill>
              </a:defRPr>
            </a:lvl4pPr>
            <a:lvl5pPr>
              <a:defRPr lang="de-DE" sz="2400">
                <a:solidFill>
                  <a:schemeClr val="tx2"/>
                </a:solidFill>
              </a:defRPr>
            </a:lvl5pPr>
          </a:lstStyle>
          <a:p>
            <a:pPr marL="168140" lvl="0" indent="-380990">
              <a:lnSpc>
                <a:spcPct val="100000"/>
              </a:lnSpc>
              <a:spcBef>
                <a:spcPct val="0"/>
              </a:spcBef>
            </a:pPr>
            <a:r>
              <a:rPr lang="en-GB" dirty="0"/>
              <a:t>SUBTITLE 18 Pt.</a:t>
            </a:r>
            <a:endParaRPr lang="de-DE" dirty="0"/>
          </a:p>
        </p:txBody>
      </p:sp>
      <p:sp>
        <p:nvSpPr>
          <p:cNvPr id="20" name="Fußzeilenplatzhalter 15">
            <a:extLst>
              <a:ext uri="{FF2B5EF4-FFF2-40B4-BE49-F238E27FC236}">
                <a16:creationId xmlns:a16="http://schemas.microsoft.com/office/drawing/2014/main" id="{6A887845-8503-4DA3-8F1E-49D343D2CA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0000" y="6489639"/>
            <a:ext cx="6240000" cy="166784"/>
          </a:xfrm>
          <a:prstGeom prst="rect">
            <a:avLst/>
          </a:prstGeom>
        </p:spPr>
        <p:txBody>
          <a:bodyPr lIns="91430" tIns="0" rIns="91430" bIns="0"/>
          <a:lstStyle>
            <a:lvl1pPr algn="l">
              <a:defRPr sz="1000" b="0">
                <a:solidFill>
                  <a:srgbClr val="B3B3B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de-DE"/>
              <a:t>@2025 INNOWERK - FRANKFURT AM MAIN</a:t>
            </a:r>
            <a:endParaRPr lang="de-DE" dirty="0"/>
          </a:p>
        </p:txBody>
      </p:sp>
      <p:sp>
        <p:nvSpPr>
          <p:cNvPr id="21" name="Foliennummernplatzhalter 3">
            <a:extLst>
              <a:ext uri="{FF2B5EF4-FFF2-40B4-BE49-F238E27FC236}">
                <a16:creationId xmlns:a16="http://schemas.microsoft.com/office/drawing/2014/main" id="{ABA2A7BD-62D6-4F7E-B0B3-1E713F1941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2850" y="6489700"/>
            <a:ext cx="2819400" cy="161925"/>
          </a:xfrm>
          <a:prstGeom prst="rect">
            <a:avLst/>
          </a:prstGeom>
        </p:spPr>
        <p:txBody>
          <a:bodyPr/>
          <a:lstStyle>
            <a:lvl1pPr algn="r">
              <a:defRPr sz="1000" b="1">
                <a:solidFill>
                  <a:srgbClr val="B3B3B3"/>
                </a:solidFill>
                <a:latin typeface="+mn-lt"/>
              </a:defRPr>
            </a:lvl1pPr>
          </a:lstStyle>
          <a:p>
            <a:r>
              <a:rPr lang="de-DE" dirty="0"/>
              <a:t>SEITE </a:t>
            </a:r>
            <a:fld id="{44AC4DCE-31D8-40DA-8054-82557CC0B0B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2" name="Datumsplatzhalter 4">
            <a:extLst>
              <a:ext uri="{FF2B5EF4-FFF2-40B4-BE49-F238E27FC236}">
                <a16:creationId xmlns:a16="http://schemas.microsoft.com/office/drawing/2014/main" id="{9A518EC6-EFBF-4998-912D-02CA6C091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831263" y="6313985"/>
            <a:ext cx="2820987" cy="16351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rgbClr val="B3B3B3"/>
                </a:solidFill>
                <a:latin typeface="Lato" panose="020F0502020204030203" pitchFamily="34" charset="0"/>
              </a:defRPr>
            </a:lvl1pPr>
          </a:lstStyle>
          <a:p>
            <a:r>
              <a:rPr lang="en-US"/>
              <a:t>6 November 2025</a:t>
            </a:r>
            <a:endParaRPr lang="de-DE" dirty="0"/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E1124CA7-48BE-495D-A1A4-67A552BA6D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963" y="1825625"/>
            <a:ext cx="10936287" cy="4386263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600" spc="0">
                <a:solidFill>
                  <a:schemeClr val="tx1"/>
                </a:solidFill>
                <a:latin typeface="Lato" panose="020F0502020204030203" pitchFamily="34" charset="0"/>
              </a:defRPr>
            </a:lvl1pPr>
            <a:lvl2pPr>
              <a:defRPr>
                <a:latin typeface="Lato" panose="020F0502020204030203" pitchFamily="34" charset="0"/>
              </a:defRPr>
            </a:lvl2pPr>
            <a:lvl3pPr marL="914400" indent="0">
              <a:buNone/>
              <a:defRPr>
                <a:latin typeface="Lato" panose="020F0502020204030203" pitchFamily="34" charset="0"/>
              </a:defRPr>
            </a:lvl3pPr>
            <a:lvl4pPr marL="1371600" indent="0">
              <a:buNone/>
              <a:defRPr>
                <a:latin typeface="Lato" panose="020F0502020204030203" pitchFamily="34" charset="0"/>
              </a:defRPr>
            </a:lvl4pPr>
          </a:lstStyle>
          <a:p>
            <a:pPr lvl="0"/>
            <a:r>
              <a:rPr lang="de-DE" dirty="0"/>
              <a:t>Dritte ebene Pt.</a:t>
            </a:r>
          </a:p>
        </p:txBody>
      </p:sp>
    </p:spTree>
    <p:extLst>
      <p:ext uri="{BB962C8B-B14F-4D97-AF65-F5344CB8AC3E}">
        <p14:creationId xmlns:p14="http://schemas.microsoft.com/office/powerpoint/2010/main" val="4249044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ntent Slid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4455B242-B3CE-4F1A-B71D-2082F28C91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846481" y="1"/>
            <a:ext cx="4345519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buNone/>
              <a:defRPr>
                <a:latin typeface="Lato" panose="020F0502020204030203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7F86562-1E7B-4890-89EF-C85D421273E0}"/>
              </a:ext>
            </a:extLst>
          </p:cNvPr>
          <p:cNvSpPr/>
          <p:nvPr userDrawn="1"/>
        </p:nvSpPr>
        <p:spPr>
          <a:xfrm>
            <a:off x="576000" y="539751"/>
            <a:ext cx="72000" cy="576000"/>
          </a:xfrm>
          <a:prstGeom prst="rect">
            <a:avLst/>
          </a:prstGeom>
          <a:solidFill>
            <a:srgbClr val="0062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5" tIns="60943" rIns="121885" bIns="60943" rtlCol="0" anchor="ctr"/>
          <a:lstStyle/>
          <a:p>
            <a:pPr algn="ctr"/>
            <a:endParaRPr lang="de-DE" sz="2400" dirty="0">
              <a:latin typeface="Lato" panose="020F0502020204030203" pitchFamily="34" charset="0"/>
            </a:endParaRPr>
          </a:p>
        </p:txBody>
      </p:sp>
      <p:pic>
        <p:nvPicPr>
          <p:cNvPr id="13" name="Picture 14" descr="Text&#10;&#10;Description automatically generated">
            <a:extLst>
              <a:ext uri="{FF2B5EF4-FFF2-40B4-BE49-F238E27FC236}">
                <a16:creationId xmlns:a16="http://schemas.microsoft.com/office/drawing/2014/main" id="{946A6864-7ED5-4915-B74F-4AA18520EB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2820" y="507852"/>
            <a:ext cx="1179180" cy="39634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B238CD0D-2DF7-472E-8A97-26631B6887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260" y="172962"/>
            <a:ext cx="5237545" cy="664797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>
              <a:defRPr sz="2400" b="1" i="0" spc="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03A32CC-6306-4A4F-9504-22D23F1BD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5260" y="849303"/>
            <a:ext cx="5237545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Lato" panose="020F0502020204030203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BAD606E-309B-40EE-B8C6-B189BB2181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5260" y="1384599"/>
            <a:ext cx="5237545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800" b="0" smtClean="0">
                <a:solidFill>
                  <a:schemeClr val="tx1"/>
                </a:solidFill>
                <a:latin typeface="Lato" panose="020F0502020204030203" pitchFamily="34" charset="0"/>
                <a:ea typeface="+mj-ea"/>
                <a:cs typeface="+mj-cs"/>
              </a:defRPr>
            </a:lvl1pPr>
            <a:lvl2pPr>
              <a:defRPr lang="en-GB" sz="2400" smtClean="0">
                <a:solidFill>
                  <a:schemeClr val="tx2"/>
                </a:solidFill>
              </a:defRPr>
            </a:lvl2pPr>
            <a:lvl3pPr>
              <a:defRPr lang="en-GB" sz="2400" smtClean="0">
                <a:solidFill>
                  <a:schemeClr val="tx2"/>
                </a:solidFill>
              </a:defRPr>
            </a:lvl3pPr>
            <a:lvl4pPr>
              <a:defRPr lang="en-GB" sz="2400" smtClean="0">
                <a:solidFill>
                  <a:schemeClr val="tx2"/>
                </a:solidFill>
              </a:defRPr>
            </a:lvl4pPr>
            <a:lvl5pPr>
              <a:defRPr lang="de-DE" sz="2400">
                <a:solidFill>
                  <a:schemeClr val="tx2"/>
                </a:solidFill>
              </a:defRPr>
            </a:lvl5pPr>
          </a:lstStyle>
          <a:p>
            <a:pPr marL="168140" lvl="0" indent="-380990">
              <a:lnSpc>
                <a:spcPct val="100000"/>
              </a:lnSpc>
              <a:spcBef>
                <a:spcPct val="0"/>
              </a:spcBef>
            </a:pPr>
            <a:r>
              <a:rPr lang="en-GB" dirty="0"/>
              <a:t>SUBTITLE</a:t>
            </a:r>
            <a:endParaRPr lang="de-DE" dirty="0"/>
          </a:p>
        </p:txBody>
      </p:sp>
      <p:sp>
        <p:nvSpPr>
          <p:cNvPr id="15" name="Fußzeilenplatzhalter 15">
            <a:extLst>
              <a:ext uri="{FF2B5EF4-FFF2-40B4-BE49-F238E27FC236}">
                <a16:creationId xmlns:a16="http://schemas.microsoft.com/office/drawing/2014/main" id="{0DECA942-AF1A-4A15-A350-1820628909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0000" y="6489639"/>
            <a:ext cx="6240000" cy="166784"/>
          </a:xfrm>
          <a:prstGeom prst="rect">
            <a:avLst/>
          </a:prstGeom>
        </p:spPr>
        <p:txBody>
          <a:bodyPr lIns="91430" tIns="0" rIns="91430" bIns="0"/>
          <a:lstStyle>
            <a:lvl1pPr algn="l">
              <a:defRPr sz="1000" b="0">
                <a:solidFill>
                  <a:srgbClr val="B3B3B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de-DE"/>
              <a:t>@2025 INNOWERK - FRANKFURT AM MAIN</a:t>
            </a:r>
            <a:endParaRPr lang="de-DE" dirty="0"/>
          </a:p>
        </p:txBody>
      </p:sp>
      <p:sp>
        <p:nvSpPr>
          <p:cNvPr id="18" name="Foliennummernplatzhalter 3">
            <a:extLst>
              <a:ext uri="{FF2B5EF4-FFF2-40B4-BE49-F238E27FC236}">
                <a16:creationId xmlns:a16="http://schemas.microsoft.com/office/drawing/2014/main" id="{583D619B-CF9D-4032-A9CA-B018D240A1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2850" y="6489700"/>
            <a:ext cx="2819400" cy="161925"/>
          </a:xfrm>
          <a:prstGeom prst="rect">
            <a:avLst/>
          </a:prstGeom>
        </p:spPr>
        <p:txBody>
          <a:bodyPr/>
          <a:lstStyle>
            <a:lvl1pPr algn="r">
              <a:defRPr sz="1000" b="1">
                <a:solidFill>
                  <a:srgbClr val="B3B3B3"/>
                </a:solidFill>
                <a:latin typeface="+mn-lt"/>
              </a:defRPr>
            </a:lvl1pPr>
          </a:lstStyle>
          <a:p>
            <a:r>
              <a:rPr lang="de-DE" dirty="0"/>
              <a:t>SEITE </a:t>
            </a:r>
            <a:fld id="{44AC4DCE-31D8-40DA-8054-82557CC0B0B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Datumsplatzhalter 4">
            <a:extLst>
              <a:ext uri="{FF2B5EF4-FFF2-40B4-BE49-F238E27FC236}">
                <a16:creationId xmlns:a16="http://schemas.microsoft.com/office/drawing/2014/main" id="{DED477CD-B899-4F6A-BF58-3EA0FA8C08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831263" y="6313985"/>
            <a:ext cx="2820987" cy="16351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rgbClr val="B3B3B3"/>
                </a:solidFill>
                <a:latin typeface="Lato" panose="020F0502020204030203" pitchFamily="34" charset="0"/>
              </a:defRPr>
            </a:lvl1pPr>
          </a:lstStyle>
          <a:p>
            <a:r>
              <a:rPr lang="en-US"/>
              <a:t>6 November 2025</a:t>
            </a:r>
            <a:endParaRPr lang="de-DE" dirty="0"/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1FB48202-2144-4D56-BF21-DE9E2F4917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964" y="1825625"/>
            <a:ext cx="5236842" cy="4386263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600" spc="0">
                <a:solidFill>
                  <a:schemeClr val="tx1"/>
                </a:solidFill>
                <a:latin typeface="Lato" panose="020F0502020204030203" pitchFamily="34" charset="0"/>
              </a:defRPr>
            </a:lvl1pPr>
            <a:lvl2pPr>
              <a:defRPr>
                <a:latin typeface="Lato" panose="020F0502020204030203" pitchFamily="34" charset="0"/>
              </a:defRPr>
            </a:lvl2pPr>
            <a:lvl3pPr marL="914400" indent="0">
              <a:buNone/>
              <a:defRPr>
                <a:latin typeface="Lato" panose="020F0502020204030203" pitchFamily="34" charset="0"/>
              </a:defRPr>
            </a:lvl3pPr>
            <a:lvl4pPr marL="1371600" indent="0">
              <a:buNone/>
              <a:defRPr>
                <a:latin typeface="Lato" panose="020F0502020204030203" pitchFamily="34" charset="0"/>
              </a:defRPr>
            </a:lvl4pPr>
          </a:lstStyle>
          <a:p>
            <a:pPr lvl="0"/>
            <a:r>
              <a:rPr lang="de-DE" dirty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725398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40000" y="507599"/>
            <a:ext cx="11112250" cy="3746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ÜBERSCHRIFT 24 PT., LW WEIT</a:t>
            </a:r>
          </a:p>
        </p:txBody>
      </p:sp>
      <p:sp>
        <p:nvSpPr>
          <p:cNvPr id="14" name="Fußzeilenplatzhalter 15">
            <a:extLst>
              <a:ext uri="{FF2B5EF4-FFF2-40B4-BE49-F238E27FC236}">
                <a16:creationId xmlns:a16="http://schemas.microsoft.com/office/drawing/2014/main" id="{EF167C05-920F-446F-9955-4F17BD4F92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0000" y="6489639"/>
            <a:ext cx="6240000" cy="166784"/>
          </a:xfrm>
          <a:prstGeom prst="rect">
            <a:avLst/>
          </a:prstGeom>
        </p:spPr>
        <p:txBody>
          <a:bodyPr lIns="91430" tIns="0" rIns="91430" bIns="0"/>
          <a:lstStyle>
            <a:lvl1pPr algn="l">
              <a:defRPr sz="1000" b="0">
                <a:solidFill>
                  <a:srgbClr val="B3B3B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de-DE"/>
              <a:t>@2025 INNOWERK - FRANKFURT AM MAIN</a:t>
            </a:r>
            <a:endParaRPr lang="de-DE" dirty="0"/>
          </a:p>
        </p:txBody>
      </p:sp>
      <p:sp>
        <p:nvSpPr>
          <p:cNvPr id="16" name="Foliennummernplatzhalter 3">
            <a:extLst>
              <a:ext uri="{FF2B5EF4-FFF2-40B4-BE49-F238E27FC236}">
                <a16:creationId xmlns:a16="http://schemas.microsoft.com/office/drawing/2014/main" id="{1044708B-5101-4BF0-A69C-60F7BF25AE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2850" y="6489700"/>
            <a:ext cx="2819400" cy="161925"/>
          </a:xfrm>
          <a:prstGeom prst="rect">
            <a:avLst/>
          </a:prstGeom>
        </p:spPr>
        <p:txBody>
          <a:bodyPr/>
          <a:lstStyle>
            <a:lvl1pPr algn="r">
              <a:defRPr sz="1000" b="1">
                <a:solidFill>
                  <a:srgbClr val="B3B3B3"/>
                </a:solidFill>
                <a:latin typeface="+mn-lt"/>
              </a:defRPr>
            </a:lvl1pPr>
          </a:lstStyle>
          <a:p>
            <a:r>
              <a:rPr lang="de-DE" dirty="0"/>
              <a:t>SEITE </a:t>
            </a:r>
            <a:fld id="{44AC4DCE-31D8-40DA-8054-82557CC0B0B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Datumsplatzhalter 4">
            <a:extLst>
              <a:ext uri="{FF2B5EF4-FFF2-40B4-BE49-F238E27FC236}">
                <a16:creationId xmlns:a16="http://schemas.microsoft.com/office/drawing/2014/main" id="{08106D73-B74A-47AF-B079-D7EB8E3DD6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831263" y="6313985"/>
            <a:ext cx="2820987" cy="16351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rgbClr val="B3B3B3"/>
                </a:solidFill>
                <a:latin typeface="Lato" panose="020F0502020204030203" pitchFamily="34" charset="0"/>
              </a:defRPr>
            </a:lvl1pPr>
          </a:lstStyle>
          <a:p>
            <a:r>
              <a:rPr lang="en-US"/>
              <a:t>6 November 2025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94A2F85-E94D-44D1-9589-662F861F9A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ZWISCHENÜBERSCHRIFT 18 Pt.</a:t>
            </a:r>
          </a:p>
          <a:p>
            <a:pPr lvl="1"/>
            <a:r>
              <a:rPr lang="en-US" dirty="0" err="1"/>
              <a:t>Fließtext</a:t>
            </a:r>
            <a:r>
              <a:rPr lang="en-US" dirty="0"/>
              <a:t> 16 Pt.	</a:t>
            </a:r>
          </a:p>
          <a:p>
            <a:pPr lvl="2"/>
            <a:r>
              <a:rPr lang="en-US" dirty="0" err="1"/>
              <a:t>Fußnote</a:t>
            </a:r>
            <a:r>
              <a:rPr lang="en-US" dirty="0"/>
              <a:t> 12 Pt.</a:t>
            </a:r>
          </a:p>
          <a:p>
            <a:pPr lvl="3"/>
            <a:r>
              <a:rPr lang="en-US" dirty="0"/>
              <a:t>	</a:t>
            </a:r>
            <a:r>
              <a:rPr lang="en-US" dirty="0" err="1"/>
              <a:t>Fußnoten</a:t>
            </a:r>
            <a:r>
              <a:rPr lang="en-US" dirty="0"/>
              <a:t> 10 Pt.</a:t>
            </a:r>
          </a:p>
        </p:txBody>
      </p:sp>
      <p:pic>
        <p:nvPicPr>
          <p:cNvPr id="12" name="Grafik 11" descr="Ein Bild, das Text enthält.&#10;&#10;Automatisch generierte Beschreibung">
            <a:extLst>
              <a:ext uri="{FF2B5EF4-FFF2-40B4-BE49-F238E27FC236}">
                <a16:creationId xmlns:a16="http://schemas.microsoft.com/office/drawing/2014/main" id="{99A4BF46-DBF9-44FE-968B-FC4570B2D3EB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2820" y="495397"/>
            <a:ext cx="1179180" cy="396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6977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74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3" r:id="rId11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 spc="3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i="0" kern="1200" spc="0">
          <a:solidFill>
            <a:schemeClr val="tx1"/>
          </a:solidFill>
          <a:latin typeface="Lato" panose="020F0502020204030203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0" baseline="0">
          <a:solidFill>
            <a:schemeClr val="tx1"/>
          </a:solidFill>
          <a:latin typeface="Lato" panose="020F0502020204030203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12001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b="0" i="0" kern="1200" spc="0" baseline="0">
          <a:solidFill>
            <a:schemeClr val="tx1"/>
          </a:solidFill>
          <a:latin typeface="Lato" panose="020F0502020204030203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00" b="0" i="0" kern="1200" spc="0" baseline="0">
          <a:solidFill>
            <a:schemeClr val="tx1"/>
          </a:solidFill>
          <a:latin typeface="Lato" panose="020F0502020204030203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b="0" i="0" kern="1200">
          <a:solidFill>
            <a:schemeClr val="accent3"/>
          </a:solidFill>
          <a:latin typeface="Lato" panose="020F0502020204030203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>
          <p15:clr>
            <a:srgbClr val="F26B43"/>
          </p15:clr>
        </p15:guide>
        <p15:guide id="2" pos="7340">
          <p15:clr>
            <a:srgbClr val="F26B43"/>
          </p15:clr>
        </p15:guide>
        <p15:guide id="3" orient="horz" pos="340">
          <p15:clr>
            <a:srgbClr val="F26B43"/>
          </p15:clr>
        </p15:guide>
        <p15:guide id="4" orient="horz" pos="3978">
          <p15:clr>
            <a:srgbClr val="F26B43"/>
          </p15:clr>
        </p15:guide>
        <p15:guide id="5" pos="3784">
          <p15:clr>
            <a:srgbClr val="F26B43"/>
          </p15:clr>
        </p15:guide>
        <p15:guide id="6" pos="3896">
          <p15:clr>
            <a:srgbClr val="F26B43"/>
          </p15:clr>
        </p15:guide>
        <p15:guide id="7" pos="2006">
          <p15:clr>
            <a:srgbClr val="F26B43"/>
          </p15:clr>
        </p15:guide>
        <p15:guide id="8" pos="2118">
          <p15:clr>
            <a:srgbClr val="F26B43"/>
          </p15:clr>
        </p15:guide>
        <p15:guide id="9" pos="5562">
          <p15:clr>
            <a:srgbClr val="F26B43"/>
          </p15:clr>
        </p15:guide>
        <p15:guide id="10" pos="5674">
          <p15:clr>
            <a:srgbClr val="F26B43"/>
          </p15:clr>
        </p15:guide>
        <p15:guide id="11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4" Type="http://schemas.openxmlformats.org/officeDocument/2006/relationships/image" Target="../media/image6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62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>
                <a:latin typeface="Lato Black" panose="020F0A02020204030203" charset="0"/>
              </a:rPr>
              <a:t>VolkerCTA</a:t>
            </a:r>
            <a:r>
              <a:rPr lang="de-DE" dirty="0">
                <a:latin typeface="Lato Black" panose="020F0A02020204030203" charset="0"/>
              </a:rPr>
              <a:t> - </a:t>
            </a:r>
            <a:r>
              <a:rPr lang="de-DE" dirty="0" err="1">
                <a:latin typeface="Lato Black" panose="020F0A02020204030203" charset="0"/>
              </a:rPr>
              <a:t>Economic</a:t>
            </a:r>
            <a:r>
              <a:rPr lang="de-DE" dirty="0">
                <a:latin typeface="Lato Black" panose="020F0A02020204030203" charset="0"/>
              </a:rPr>
              <a:t> Collaborative Tool Assistant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ototyping Agentic AI in the Context of Central Bank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6 November 2025 – </a:t>
            </a:r>
            <a:r>
              <a:rPr lang="en-GB" dirty="0" err="1"/>
              <a:t>BoF</a:t>
            </a:r>
            <a:r>
              <a:rPr lang="en-GB" dirty="0"/>
              <a:t>-FIN-FSA Seminar: “The Impact of AI on Economy, Finance and Supervision”</a:t>
            </a:r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4210756" y="4299959"/>
            <a:ext cx="3181961" cy="11827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de-DE" sz="2400" dirty="0"/>
              <a:t>Dr. Sebastian Lutterer</a:t>
            </a:r>
          </a:p>
          <a:p>
            <a:pPr algn="ctr">
              <a:lnSpc>
                <a:spcPct val="110000"/>
              </a:lnSpc>
            </a:pPr>
            <a:r>
              <a:rPr lang="de-DE" sz="2400" dirty="0"/>
              <a:t>Dr. Mauricio Fernández</a:t>
            </a:r>
          </a:p>
          <a:p>
            <a:pPr algn="ctr">
              <a:lnSpc>
                <a:spcPct val="110000"/>
              </a:lnSpc>
            </a:pPr>
            <a:r>
              <a:rPr lang="de-DE" sz="2400" dirty="0"/>
              <a:t>Johannes Rogowsky</a:t>
            </a:r>
          </a:p>
        </p:txBody>
      </p:sp>
    </p:spTree>
    <p:extLst>
      <p:ext uri="{BB962C8B-B14F-4D97-AF65-F5344CB8AC3E}">
        <p14:creationId xmlns:p14="http://schemas.microsoft.com/office/powerpoint/2010/main" val="27790915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230E794D-8076-4D3A-B81A-BF643648BC14}"/>
              </a:ext>
            </a:extLst>
          </p:cNvPr>
          <p:cNvSpPr txBox="1">
            <a:spLocks/>
          </p:cNvSpPr>
          <p:nvPr/>
        </p:nvSpPr>
        <p:spPr>
          <a:xfrm>
            <a:off x="1025985" y="2521484"/>
            <a:ext cx="423396" cy="423396"/>
          </a:xfrm>
          <a:prstGeom prst="rect">
            <a:avLst/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DE" sz="1800" dirty="0">
              <a:latin typeface="Lato" panose="020F0502020204030203" pitchFamily="34" charset="0"/>
            </a:endParaRP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230E794D-8076-4D3A-B81A-BF643648BC14}"/>
              </a:ext>
            </a:extLst>
          </p:cNvPr>
          <p:cNvSpPr txBox="1">
            <a:spLocks/>
          </p:cNvSpPr>
          <p:nvPr/>
        </p:nvSpPr>
        <p:spPr>
          <a:xfrm>
            <a:off x="1025985" y="3331783"/>
            <a:ext cx="423396" cy="423396"/>
          </a:xfrm>
          <a:prstGeom prst="rect">
            <a:avLst/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DE" sz="1800" dirty="0">
              <a:latin typeface="Lato" panose="020F0502020204030203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01EFE5-A73D-477E-BC70-8382703CBA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01EFE5-A73D-477E-BC70-8382703CB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CEDURE | WORKING ON A NOVEL TASK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NSWERING A REQUEST</a:t>
            </a:r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GETTING MORE OUT OF THE KNOWLEDGE YOU HAVE</a:t>
            </a:r>
          </a:p>
        </p:txBody>
      </p:sp>
      <p:sp>
        <p:nvSpPr>
          <p:cNvPr id="45" name="Fußzeilenplatzhalter 4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@2025 INNOWERK - FRANKFURT AM MAIN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tabLst>
                <a:tab pos="898525" algn="l"/>
              </a:tabLst>
            </a:pPr>
            <a:r>
              <a:rPr lang="de-DE" dirty="0" err="1">
                <a:ea typeface="Lato" panose="020F0502020204030203" pitchFamily="34" charset="0"/>
                <a:cs typeface="Lato" panose="020F0502020204030203" pitchFamily="34" charset="0"/>
              </a:rPr>
              <a:t>Which</a:t>
            </a:r>
            <a:r>
              <a:rPr lang="de-DE" dirty="0"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DE" dirty="0" err="1">
                <a:ea typeface="Lato" panose="020F0502020204030203" pitchFamily="34" charset="0"/>
                <a:cs typeface="Lato" panose="020F0502020204030203" pitchFamily="34" charset="0"/>
              </a:rPr>
              <a:t>resources</a:t>
            </a:r>
            <a:r>
              <a:rPr lang="de-DE" dirty="0"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DE" dirty="0" err="1">
                <a:ea typeface="Lato" panose="020F0502020204030203" pitchFamily="34" charset="0"/>
                <a:cs typeface="Lato" panose="020F0502020204030203" pitchFamily="34" charset="0"/>
              </a:rPr>
              <a:t>are</a:t>
            </a:r>
            <a:r>
              <a:rPr lang="de-DE" dirty="0"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DE" dirty="0" err="1">
                <a:ea typeface="Lato" panose="020F0502020204030203" pitchFamily="34" charset="0"/>
                <a:cs typeface="Lato" panose="020F0502020204030203" pitchFamily="34" charset="0"/>
              </a:rPr>
              <a:t>available</a:t>
            </a:r>
            <a:r>
              <a:rPr lang="de-DE" dirty="0">
                <a:ea typeface="Lato" panose="020F0502020204030203" pitchFamily="34" charset="0"/>
                <a:cs typeface="Lato" panose="020F0502020204030203" pitchFamily="34" charset="0"/>
              </a:rPr>
              <a:t>? </a:t>
            </a:r>
            <a:r>
              <a:rPr lang="de-DE" dirty="0" err="1">
                <a:ea typeface="Lato" panose="020F0502020204030203" pitchFamily="34" charset="0"/>
                <a:cs typeface="Lato" panose="020F0502020204030203" pitchFamily="34" charset="0"/>
              </a:rPr>
              <a:t>How</a:t>
            </a:r>
            <a:r>
              <a:rPr lang="de-DE" dirty="0"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DE" dirty="0" err="1">
                <a:ea typeface="Lato" panose="020F0502020204030203" pitchFamily="34" charset="0"/>
                <a:cs typeface="Lato" panose="020F0502020204030203" pitchFamily="34" charset="0"/>
              </a:rPr>
              <a:t>can</a:t>
            </a:r>
            <a:r>
              <a:rPr lang="de-DE" dirty="0"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DE" dirty="0" err="1">
                <a:ea typeface="Lato" panose="020F0502020204030203" pitchFamily="34" charset="0"/>
                <a:cs typeface="Lato" panose="020F0502020204030203" pitchFamily="34" charset="0"/>
              </a:rPr>
              <a:t>you</a:t>
            </a:r>
            <a:r>
              <a:rPr lang="de-DE" dirty="0"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DE" dirty="0" err="1">
                <a:ea typeface="Lato" panose="020F0502020204030203" pitchFamily="34" charset="0"/>
                <a:cs typeface="Lato" panose="020F0502020204030203" pitchFamily="34" charset="0"/>
              </a:rPr>
              <a:t>work</a:t>
            </a:r>
            <a:r>
              <a:rPr lang="de-DE" dirty="0"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DE" dirty="0" err="1">
                <a:ea typeface="Lato" panose="020F0502020204030203" pitchFamily="34" charset="0"/>
                <a:cs typeface="Lato" panose="020F0502020204030203" pitchFamily="34" charset="0"/>
              </a:rPr>
              <a:t>with</a:t>
            </a:r>
            <a:r>
              <a:rPr lang="de-DE" dirty="0"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DE" dirty="0" err="1">
                <a:ea typeface="Lato" panose="020F0502020204030203" pitchFamily="34" charset="0"/>
                <a:cs typeface="Lato" panose="020F0502020204030203" pitchFamily="34" charset="0"/>
              </a:rPr>
              <a:t>them</a:t>
            </a:r>
            <a:r>
              <a:rPr lang="de-DE" dirty="0">
                <a:ea typeface="Lato" panose="020F0502020204030203" pitchFamily="34" charset="0"/>
                <a:cs typeface="Lato" panose="020F0502020204030203" pitchFamily="34" charset="0"/>
              </a:rPr>
              <a:t>?</a:t>
            </a:r>
            <a:br>
              <a:rPr lang="de-DE" b="1" dirty="0">
                <a:ea typeface="Lato" panose="020F0502020204030203" pitchFamily="34" charset="0"/>
                <a:cs typeface="Lato" panose="020F0502020204030203" pitchFamily="34" charset="0"/>
              </a:rPr>
            </a:br>
            <a:endParaRPr lang="de-DE" dirty="0"/>
          </a:p>
        </p:txBody>
      </p:sp>
      <p:sp>
        <p:nvSpPr>
          <p:cNvPr id="40" name="Abgerundetes Rechteck 16">
            <a:extLst>
              <a:ext uri="{FF2B5EF4-FFF2-40B4-BE49-F238E27FC236}">
                <a16:creationId xmlns:a16="http://schemas.microsoft.com/office/drawing/2014/main" id="{D44E255C-79B7-4AE6-A466-156FC6DC229E}"/>
              </a:ext>
            </a:extLst>
          </p:cNvPr>
          <p:cNvSpPr/>
          <p:nvPr/>
        </p:nvSpPr>
        <p:spPr>
          <a:xfrm>
            <a:off x="715260" y="2395997"/>
            <a:ext cx="5300845" cy="716145"/>
          </a:xfrm>
          <a:prstGeom prst="round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2" name="Abgerundetes Rechteck 18">
            <a:extLst>
              <a:ext uri="{FF2B5EF4-FFF2-40B4-BE49-F238E27FC236}">
                <a16:creationId xmlns:a16="http://schemas.microsoft.com/office/drawing/2014/main" id="{B9CB24B3-60C4-4F85-9BD6-5155EB3B2DCD}"/>
              </a:ext>
            </a:extLst>
          </p:cNvPr>
          <p:cNvSpPr/>
          <p:nvPr/>
        </p:nvSpPr>
        <p:spPr>
          <a:xfrm>
            <a:off x="1764567" y="2478629"/>
            <a:ext cx="4192931" cy="550880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err="1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Literature</a:t>
            </a:r>
            <a:r>
              <a:rPr lang="de-DE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, </a:t>
            </a:r>
            <a:r>
              <a:rPr lang="de-DE" dirty="0" err="1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Regulations</a:t>
            </a:r>
            <a:r>
              <a:rPr lang="de-DE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, Data, …</a:t>
            </a:r>
          </a:p>
        </p:txBody>
      </p:sp>
      <p:sp>
        <p:nvSpPr>
          <p:cNvPr id="37" name="Abgerundetes Rechteck 21">
            <a:extLst>
              <a:ext uri="{FF2B5EF4-FFF2-40B4-BE49-F238E27FC236}">
                <a16:creationId xmlns:a16="http://schemas.microsoft.com/office/drawing/2014/main" id="{0B805D69-F10F-4F06-9631-D7F4592123FB}"/>
              </a:ext>
            </a:extLst>
          </p:cNvPr>
          <p:cNvSpPr/>
          <p:nvPr/>
        </p:nvSpPr>
        <p:spPr>
          <a:xfrm>
            <a:off x="715260" y="3983985"/>
            <a:ext cx="5300845" cy="716145"/>
          </a:xfrm>
          <a:prstGeom prst="round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9" name="Abgerundetes Rechteck 23">
            <a:extLst>
              <a:ext uri="{FF2B5EF4-FFF2-40B4-BE49-F238E27FC236}">
                <a16:creationId xmlns:a16="http://schemas.microsoft.com/office/drawing/2014/main" id="{D24C50CC-CDD1-4547-8E97-32FFA7D9D31C}"/>
              </a:ext>
            </a:extLst>
          </p:cNvPr>
          <p:cNvSpPr/>
          <p:nvPr/>
        </p:nvSpPr>
        <p:spPr>
          <a:xfrm>
            <a:off x="1764567" y="4069041"/>
            <a:ext cx="4192931" cy="550880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Online Research, </a:t>
            </a:r>
            <a:r>
              <a:rPr lang="de-DE" dirty="0" err="1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ebscraping</a:t>
            </a:r>
            <a:r>
              <a:rPr lang="de-DE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, …</a:t>
            </a:r>
          </a:p>
        </p:txBody>
      </p:sp>
      <p:sp>
        <p:nvSpPr>
          <p:cNvPr id="34" name="Abgerundetes Rechteck 26">
            <a:extLst>
              <a:ext uri="{FF2B5EF4-FFF2-40B4-BE49-F238E27FC236}">
                <a16:creationId xmlns:a16="http://schemas.microsoft.com/office/drawing/2014/main" id="{7DC010D2-570E-42C8-9D1E-C83369E06202}"/>
              </a:ext>
            </a:extLst>
          </p:cNvPr>
          <p:cNvSpPr/>
          <p:nvPr/>
        </p:nvSpPr>
        <p:spPr>
          <a:xfrm>
            <a:off x="715260" y="4777979"/>
            <a:ext cx="5300845" cy="716145"/>
          </a:xfrm>
          <a:prstGeom prst="round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6" name="Abgerundetes Rechteck 28">
            <a:extLst>
              <a:ext uri="{FF2B5EF4-FFF2-40B4-BE49-F238E27FC236}">
                <a16:creationId xmlns:a16="http://schemas.microsoft.com/office/drawing/2014/main" id="{29D42E05-229E-4DC8-9082-ADC38788DAE7}"/>
              </a:ext>
            </a:extLst>
          </p:cNvPr>
          <p:cNvSpPr/>
          <p:nvPr/>
        </p:nvSpPr>
        <p:spPr>
          <a:xfrm>
            <a:off x="1764567" y="4860612"/>
            <a:ext cx="4192931" cy="550880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Graphs, </a:t>
            </a:r>
            <a:r>
              <a:rPr lang="de-DE" dirty="0" err="1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agrams</a:t>
            </a:r>
            <a:r>
              <a:rPr lang="de-DE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, …</a:t>
            </a:r>
          </a:p>
        </p:txBody>
      </p:sp>
      <p:sp>
        <p:nvSpPr>
          <p:cNvPr id="50" name="Abgerundetes Rechteck 9">
            <a:extLst>
              <a:ext uri="{FF2B5EF4-FFF2-40B4-BE49-F238E27FC236}">
                <a16:creationId xmlns:a16="http://schemas.microsoft.com/office/drawing/2014/main" id="{8E50874C-F880-435D-8F5F-93E296725622}"/>
              </a:ext>
            </a:extLst>
          </p:cNvPr>
          <p:cNvSpPr/>
          <p:nvPr/>
        </p:nvSpPr>
        <p:spPr>
          <a:xfrm>
            <a:off x="715260" y="3189991"/>
            <a:ext cx="5300845" cy="716145"/>
          </a:xfrm>
          <a:prstGeom prst="round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3" name="Abgerundetes Rechteck 11">
            <a:extLst>
              <a:ext uri="{FF2B5EF4-FFF2-40B4-BE49-F238E27FC236}">
                <a16:creationId xmlns:a16="http://schemas.microsoft.com/office/drawing/2014/main" id="{3614686F-495C-4BF3-A0FA-34B8AF4B1F25}"/>
              </a:ext>
            </a:extLst>
          </p:cNvPr>
          <p:cNvSpPr/>
          <p:nvPr/>
        </p:nvSpPr>
        <p:spPr>
          <a:xfrm>
            <a:off x="1749720" y="3267956"/>
            <a:ext cx="4601608" cy="550880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odels (Python, </a:t>
            </a:r>
            <a:r>
              <a:rPr lang="de-DE" dirty="0" err="1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atlab</a:t>
            </a:r>
            <a:r>
              <a:rPr lang="de-DE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, R, …)</a:t>
            </a:r>
          </a:p>
        </p:txBody>
      </p:sp>
      <p:sp>
        <p:nvSpPr>
          <p:cNvPr id="73" name="Text Placeholder 9">
            <a:extLst>
              <a:ext uri="{FF2B5EF4-FFF2-40B4-BE49-F238E27FC236}">
                <a16:creationId xmlns:a16="http://schemas.microsoft.com/office/drawing/2014/main" id="{230E794D-8076-4D3A-B81A-BF643648BC14}"/>
              </a:ext>
            </a:extLst>
          </p:cNvPr>
          <p:cNvSpPr txBox="1">
            <a:spLocks/>
          </p:cNvSpPr>
          <p:nvPr/>
        </p:nvSpPr>
        <p:spPr>
          <a:xfrm>
            <a:off x="1013118" y="4128373"/>
            <a:ext cx="423396" cy="423396"/>
          </a:xfrm>
          <a:prstGeom prst="rect">
            <a:avLst/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DE" sz="1800" dirty="0">
              <a:latin typeface="Lato" panose="020F0502020204030203" pitchFamily="34" charset="0"/>
            </a:endParaRPr>
          </a:p>
        </p:txBody>
      </p:sp>
      <p:sp>
        <p:nvSpPr>
          <p:cNvPr id="74" name="Text Placeholder 9">
            <a:extLst>
              <a:ext uri="{FF2B5EF4-FFF2-40B4-BE49-F238E27FC236}">
                <a16:creationId xmlns:a16="http://schemas.microsoft.com/office/drawing/2014/main" id="{230E794D-8076-4D3A-B81A-BF643648BC14}"/>
              </a:ext>
            </a:extLst>
          </p:cNvPr>
          <p:cNvSpPr txBox="1">
            <a:spLocks/>
          </p:cNvSpPr>
          <p:nvPr/>
        </p:nvSpPr>
        <p:spPr>
          <a:xfrm>
            <a:off x="1013118" y="4904692"/>
            <a:ext cx="423396" cy="423396"/>
          </a:xfrm>
          <a:prstGeom prst="rect">
            <a:avLst/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DE" sz="1800" dirty="0">
              <a:latin typeface="Lato" panose="020F0502020204030203" pitchFamily="34" charset="0"/>
            </a:endParaRPr>
          </a:p>
        </p:txBody>
      </p:sp>
      <p:sp>
        <p:nvSpPr>
          <p:cNvPr id="49" name="Freeform: Shape 272">
            <a:extLst>
              <a:ext uri="{FF2B5EF4-FFF2-40B4-BE49-F238E27FC236}">
                <a16:creationId xmlns:a16="http://schemas.microsoft.com/office/drawing/2014/main" id="{B057B430-2DE4-4E28-AAB7-D0D4FD658EEE}"/>
              </a:ext>
            </a:extLst>
          </p:cNvPr>
          <p:cNvSpPr/>
          <p:nvPr/>
        </p:nvSpPr>
        <p:spPr>
          <a:xfrm>
            <a:off x="1133505" y="2610180"/>
            <a:ext cx="213520" cy="265465"/>
          </a:xfrm>
          <a:custGeom>
            <a:avLst/>
            <a:gdLst>
              <a:gd name="connsiteX0" fmla="*/ 18830 w 160140"/>
              <a:gd name="connsiteY0" fmla="*/ 0 h 199099"/>
              <a:gd name="connsiteX1" fmla="*/ 102190 w 160140"/>
              <a:gd name="connsiteY1" fmla="*/ 0 h 199099"/>
              <a:gd name="connsiteX2" fmla="*/ 107184 w 160140"/>
              <a:gd name="connsiteY2" fmla="*/ 2247 h 199099"/>
              <a:gd name="connsiteX3" fmla="*/ 158116 w 160140"/>
              <a:gd name="connsiteY3" fmla="*/ 57633 h 199099"/>
              <a:gd name="connsiteX4" fmla="*/ 160140 w 160140"/>
              <a:gd name="connsiteY4" fmla="*/ 63031 h 199099"/>
              <a:gd name="connsiteX5" fmla="*/ 160140 w 160140"/>
              <a:gd name="connsiteY5" fmla="*/ 178535 h 199099"/>
              <a:gd name="connsiteX6" fmla="*/ 154638 w 160140"/>
              <a:gd name="connsiteY6" fmla="*/ 193033 h 199099"/>
              <a:gd name="connsiteX7" fmla="*/ 154601 w 160140"/>
              <a:gd name="connsiteY7" fmla="*/ 193033 h 199099"/>
              <a:gd name="connsiteX8" fmla="*/ 154423 w 160140"/>
              <a:gd name="connsiteY8" fmla="*/ 193230 h 199099"/>
              <a:gd name="connsiteX9" fmla="*/ 141312 w 160140"/>
              <a:gd name="connsiteY9" fmla="*/ 199099 h 199099"/>
              <a:gd name="connsiteX10" fmla="*/ 18830 w 160140"/>
              <a:gd name="connsiteY10" fmla="*/ 199099 h 199099"/>
              <a:gd name="connsiteX11" fmla="*/ 5560 w 160140"/>
              <a:gd name="connsiteY11" fmla="*/ 193033 h 199099"/>
              <a:gd name="connsiteX12" fmla="*/ 5541 w 160140"/>
              <a:gd name="connsiteY12" fmla="*/ 193033 h 199099"/>
              <a:gd name="connsiteX13" fmla="*/ 1 w 160140"/>
              <a:gd name="connsiteY13" fmla="*/ 178535 h 199099"/>
              <a:gd name="connsiteX14" fmla="*/ 1 w 160140"/>
              <a:gd name="connsiteY14" fmla="*/ 20484 h 199099"/>
              <a:gd name="connsiteX15" fmla="*/ 5541 w 160140"/>
              <a:gd name="connsiteY15" fmla="*/ 5990 h 199099"/>
              <a:gd name="connsiteX16" fmla="*/ 18830 w 160140"/>
              <a:gd name="connsiteY16" fmla="*/ 0 h 199099"/>
              <a:gd name="connsiteX17" fmla="*/ 146090 w 160140"/>
              <a:gd name="connsiteY17" fmla="*/ 67601 h 199099"/>
              <a:gd name="connsiteX18" fmla="*/ 114008 w 160140"/>
              <a:gd name="connsiteY18" fmla="*/ 67601 h 199099"/>
              <a:gd name="connsiteX19" fmla="*/ 102674 w 160140"/>
              <a:gd name="connsiteY19" fmla="*/ 62477 h 199099"/>
              <a:gd name="connsiteX20" fmla="*/ 102459 w 160140"/>
              <a:gd name="connsiteY20" fmla="*/ 62244 h 199099"/>
              <a:gd name="connsiteX21" fmla="*/ 97983 w 160140"/>
              <a:gd name="connsiteY21" fmla="*/ 50147 h 199099"/>
              <a:gd name="connsiteX22" fmla="*/ 97983 w 160140"/>
              <a:gd name="connsiteY22" fmla="*/ 15286 h 199099"/>
              <a:gd name="connsiteX23" fmla="*/ 18830 w 160140"/>
              <a:gd name="connsiteY23" fmla="*/ 15286 h 199099"/>
              <a:gd name="connsiteX24" fmla="*/ 15496 w 160140"/>
              <a:gd name="connsiteY24" fmla="*/ 16822 h 199099"/>
              <a:gd name="connsiteX25" fmla="*/ 14084 w 160140"/>
              <a:gd name="connsiteY25" fmla="*/ 20485 h 199099"/>
              <a:gd name="connsiteX26" fmla="*/ 14084 w 160140"/>
              <a:gd name="connsiteY26" fmla="*/ 178535 h 199099"/>
              <a:gd name="connsiteX27" fmla="*/ 15496 w 160140"/>
              <a:gd name="connsiteY27" fmla="*/ 182237 h 199099"/>
              <a:gd name="connsiteX28" fmla="*/ 15459 w 160140"/>
              <a:gd name="connsiteY28" fmla="*/ 182237 h 199099"/>
              <a:gd name="connsiteX29" fmla="*/ 18826 w 160140"/>
              <a:gd name="connsiteY29" fmla="*/ 183734 h 199099"/>
              <a:gd name="connsiteX30" fmla="*/ 141306 w 160140"/>
              <a:gd name="connsiteY30" fmla="*/ 183734 h 199099"/>
              <a:gd name="connsiteX31" fmla="*/ 144676 w 160140"/>
              <a:gd name="connsiteY31" fmla="*/ 182237 h 199099"/>
              <a:gd name="connsiteX32" fmla="*/ 144710 w 160140"/>
              <a:gd name="connsiteY32" fmla="*/ 182237 h 199099"/>
              <a:gd name="connsiteX33" fmla="*/ 146086 w 160140"/>
              <a:gd name="connsiteY33" fmla="*/ 178535 h 199099"/>
              <a:gd name="connsiteX34" fmla="*/ 146086 w 160140"/>
              <a:gd name="connsiteY34" fmla="*/ 67601 h 199099"/>
              <a:gd name="connsiteX35" fmla="*/ 138959 w 160140"/>
              <a:gd name="connsiteY35" fmla="*/ 58423 h 199099"/>
              <a:gd name="connsiteX36" fmla="*/ 138959 w 160140"/>
              <a:gd name="connsiteY36" fmla="*/ 58423 h 199099"/>
              <a:gd name="connsiteX37" fmla="*/ 106404 w 160140"/>
              <a:gd name="connsiteY37" fmla="*/ 23046 h 199099"/>
              <a:gd name="connsiteX38" fmla="*/ 106404 w 160140"/>
              <a:gd name="connsiteY38" fmla="*/ 50150 h 199099"/>
              <a:gd name="connsiteX39" fmla="*/ 108451 w 160140"/>
              <a:gd name="connsiteY39" fmla="*/ 55781 h 199099"/>
              <a:gd name="connsiteX40" fmla="*/ 108651 w 160140"/>
              <a:gd name="connsiteY40" fmla="*/ 56019 h 199099"/>
              <a:gd name="connsiteX41" fmla="*/ 114008 w 160140"/>
              <a:gd name="connsiteY41" fmla="*/ 58423 h 199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60140" h="199099">
                <a:moveTo>
                  <a:pt x="18830" y="0"/>
                </a:moveTo>
                <a:lnTo>
                  <a:pt x="102190" y="0"/>
                </a:lnTo>
                <a:cubicBezTo>
                  <a:pt x="104097" y="10"/>
                  <a:pt x="105911" y="826"/>
                  <a:pt x="107184" y="2247"/>
                </a:cubicBezTo>
                <a:lnTo>
                  <a:pt x="158116" y="57633"/>
                </a:lnTo>
                <a:cubicBezTo>
                  <a:pt x="159445" y="59114"/>
                  <a:pt x="160168" y="61041"/>
                  <a:pt x="160140" y="63031"/>
                </a:cubicBezTo>
                <a:lnTo>
                  <a:pt x="160140" y="178535"/>
                </a:lnTo>
                <a:cubicBezTo>
                  <a:pt x="160186" y="183886"/>
                  <a:pt x="158223" y="189059"/>
                  <a:pt x="154638" y="193033"/>
                </a:cubicBezTo>
                <a:lnTo>
                  <a:pt x="154601" y="193033"/>
                </a:lnTo>
                <a:lnTo>
                  <a:pt x="154423" y="193230"/>
                </a:lnTo>
                <a:cubicBezTo>
                  <a:pt x="151057" y="196921"/>
                  <a:pt x="146308" y="199047"/>
                  <a:pt x="141312" y="199099"/>
                </a:cubicBezTo>
                <a:lnTo>
                  <a:pt x="18830" y="199099"/>
                </a:lnTo>
                <a:cubicBezTo>
                  <a:pt x="13750" y="199035"/>
                  <a:pt x="8932" y="196833"/>
                  <a:pt x="5560" y="193033"/>
                </a:cubicBezTo>
                <a:lnTo>
                  <a:pt x="5541" y="193033"/>
                </a:lnTo>
                <a:cubicBezTo>
                  <a:pt x="1931" y="189072"/>
                  <a:pt x="-48" y="183893"/>
                  <a:pt x="1" y="178535"/>
                </a:cubicBezTo>
                <a:lnTo>
                  <a:pt x="1" y="20484"/>
                </a:lnTo>
                <a:cubicBezTo>
                  <a:pt x="-41" y="15128"/>
                  <a:pt x="1937" y="9953"/>
                  <a:pt x="5541" y="5990"/>
                </a:cubicBezTo>
                <a:cubicBezTo>
                  <a:pt x="8932" y="2215"/>
                  <a:pt x="13755" y="41"/>
                  <a:pt x="18830" y="0"/>
                </a:cubicBezTo>
                <a:close/>
                <a:moveTo>
                  <a:pt x="146090" y="67601"/>
                </a:moveTo>
                <a:lnTo>
                  <a:pt x="114008" y="67601"/>
                </a:lnTo>
                <a:cubicBezTo>
                  <a:pt x="109680" y="67555"/>
                  <a:pt x="105568" y="65697"/>
                  <a:pt x="102674" y="62477"/>
                </a:cubicBezTo>
                <a:lnTo>
                  <a:pt x="102459" y="62244"/>
                </a:lnTo>
                <a:cubicBezTo>
                  <a:pt x="99547" y="58890"/>
                  <a:pt x="97955" y="54590"/>
                  <a:pt x="97983" y="50147"/>
                </a:cubicBezTo>
                <a:lnTo>
                  <a:pt x="97983" y="15286"/>
                </a:lnTo>
                <a:lnTo>
                  <a:pt x="18830" y="15286"/>
                </a:lnTo>
                <a:cubicBezTo>
                  <a:pt x="17555" y="15318"/>
                  <a:pt x="16349" y="15873"/>
                  <a:pt x="15496" y="16822"/>
                </a:cubicBezTo>
                <a:cubicBezTo>
                  <a:pt x="14576" y="17819"/>
                  <a:pt x="14071" y="19129"/>
                  <a:pt x="14084" y="20485"/>
                </a:cubicBezTo>
                <a:lnTo>
                  <a:pt x="14084" y="178535"/>
                </a:lnTo>
                <a:cubicBezTo>
                  <a:pt x="14077" y="179902"/>
                  <a:pt x="14581" y="181222"/>
                  <a:pt x="15496" y="182237"/>
                </a:cubicBezTo>
                <a:lnTo>
                  <a:pt x="15459" y="182237"/>
                </a:lnTo>
                <a:cubicBezTo>
                  <a:pt x="16324" y="183183"/>
                  <a:pt x="17544" y="183725"/>
                  <a:pt x="18826" y="183734"/>
                </a:cubicBezTo>
                <a:lnTo>
                  <a:pt x="141306" y="183734"/>
                </a:lnTo>
                <a:cubicBezTo>
                  <a:pt x="142590" y="183732"/>
                  <a:pt x="143814" y="183188"/>
                  <a:pt x="144676" y="182237"/>
                </a:cubicBezTo>
                <a:lnTo>
                  <a:pt x="144710" y="182237"/>
                </a:lnTo>
                <a:cubicBezTo>
                  <a:pt x="145584" y="181200"/>
                  <a:pt x="146071" y="179891"/>
                  <a:pt x="146086" y="178535"/>
                </a:cubicBezTo>
                <a:lnTo>
                  <a:pt x="146086" y="67601"/>
                </a:lnTo>
                <a:close/>
                <a:moveTo>
                  <a:pt x="138959" y="58423"/>
                </a:moveTo>
                <a:lnTo>
                  <a:pt x="138959" y="58423"/>
                </a:lnTo>
                <a:lnTo>
                  <a:pt x="106404" y="23046"/>
                </a:lnTo>
                <a:lnTo>
                  <a:pt x="106404" y="50150"/>
                </a:lnTo>
                <a:cubicBezTo>
                  <a:pt x="106389" y="52212"/>
                  <a:pt x="107116" y="54210"/>
                  <a:pt x="108451" y="55781"/>
                </a:cubicBezTo>
                <a:lnTo>
                  <a:pt x="108651" y="56019"/>
                </a:lnTo>
                <a:cubicBezTo>
                  <a:pt x="110031" y="57522"/>
                  <a:pt x="111968" y="58391"/>
                  <a:pt x="114008" y="58423"/>
                </a:cubicBezTo>
                <a:close/>
              </a:path>
            </a:pathLst>
          </a:custGeom>
          <a:solidFill>
            <a:srgbClr val="BFBFB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2400" dirty="0">
              <a:latin typeface="Lato" panose="020F0502020204030203" pitchFamily="34" charset="0"/>
            </a:endParaRPr>
          </a:p>
        </p:txBody>
      </p:sp>
      <p:sp>
        <p:nvSpPr>
          <p:cNvPr id="52" name="Freeform: Shape 262">
            <a:extLst>
              <a:ext uri="{FF2B5EF4-FFF2-40B4-BE49-F238E27FC236}">
                <a16:creationId xmlns:a16="http://schemas.microsoft.com/office/drawing/2014/main" id="{A970AD53-41D1-4E8B-A09E-0E3C6EC0B40E}"/>
              </a:ext>
            </a:extLst>
          </p:cNvPr>
          <p:cNvSpPr/>
          <p:nvPr/>
        </p:nvSpPr>
        <p:spPr>
          <a:xfrm>
            <a:off x="1093013" y="3419721"/>
            <a:ext cx="265484" cy="265453"/>
          </a:xfrm>
          <a:custGeom>
            <a:avLst/>
            <a:gdLst>
              <a:gd name="connsiteX0" fmla="*/ 21049 w 199113"/>
              <a:gd name="connsiteY0" fmla="*/ 158927 h 199090"/>
              <a:gd name="connsiteX1" fmla="*/ 66657 w 199113"/>
              <a:gd name="connsiteY1" fmla="*/ 91856 h 199090"/>
              <a:gd name="connsiteX2" fmla="*/ 77601 w 199113"/>
              <a:gd name="connsiteY2" fmla="*/ 89735 h 199090"/>
              <a:gd name="connsiteX3" fmla="*/ 77611 w 199113"/>
              <a:gd name="connsiteY3" fmla="*/ 89742 h 199090"/>
              <a:gd name="connsiteX4" fmla="*/ 79746 w 199113"/>
              <a:gd name="connsiteY4" fmla="*/ 91898 h 199090"/>
              <a:gd name="connsiteX5" fmla="*/ 88121 w 199113"/>
              <a:gd name="connsiteY5" fmla="*/ 104256 h 199090"/>
              <a:gd name="connsiteX6" fmla="*/ 118728 w 199113"/>
              <a:gd name="connsiteY6" fmla="*/ 59177 h 199090"/>
              <a:gd name="connsiteX7" fmla="*/ 129682 w 199113"/>
              <a:gd name="connsiteY7" fmla="*/ 57062 h 199090"/>
              <a:gd name="connsiteX8" fmla="*/ 131816 w 199113"/>
              <a:gd name="connsiteY8" fmla="*/ 59253 h 199090"/>
              <a:gd name="connsiteX9" fmla="*/ 141024 w 199113"/>
              <a:gd name="connsiteY9" fmla="*/ 72789 h 199090"/>
              <a:gd name="connsiteX10" fmla="*/ 176510 w 199113"/>
              <a:gd name="connsiteY10" fmla="*/ 20592 h 199090"/>
              <a:gd name="connsiteX11" fmla="*/ 187400 w 199113"/>
              <a:gd name="connsiteY11" fmla="*/ 18477 h 199090"/>
              <a:gd name="connsiteX12" fmla="*/ 190857 w 199113"/>
              <a:gd name="connsiteY12" fmla="*/ 25025 h 199090"/>
              <a:gd name="connsiteX13" fmla="*/ 190899 w 199113"/>
              <a:gd name="connsiteY13" fmla="*/ 25025 h 199090"/>
              <a:gd name="connsiteX14" fmla="*/ 190899 w 199113"/>
              <a:gd name="connsiteY14" fmla="*/ 163930 h 199090"/>
              <a:gd name="connsiteX15" fmla="*/ 182993 w 199113"/>
              <a:gd name="connsiteY15" fmla="*/ 171856 h 199090"/>
              <a:gd name="connsiteX16" fmla="*/ 27164 w 199113"/>
              <a:gd name="connsiteY16" fmla="*/ 171856 h 199090"/>
              <a:gd name="connsiteX17" fmla="*/ 19239 w 199113"/>
              <a:gd name="connsiteY17" fmla="*/ 163930 h 199090"/>
              <a:gd name="connsiteX18" fmla="*/ 21048 w 199113"/>
              <a:gd name="connsiteY18" fmla="*/ 158927 h 199090"/>
              <a:gd name="connsiteX19" fmla="*/ 4874 w 199113"/>
              <a:gd name="connsiteY19" fmla="*/ 199090 h 199090"/>
              <a:gd name="connsiteX20" fmla="*/ 194379 w 199113"/>
              <a:gd name="connsiteY20" fmla="*/ 199090 h 199090"/>
              <a:gd name="connsiteX21" fmla="*/ 199113 w 199113"/>
              <a:gd name="connsiteY21" fmla="*/ 194355 h 199090"/>
              <a:gd name="connsiteX22" fmla="*/ 194379 w 199113"/>
              <a:gd name="connsiteY22" fmla="*/ 189620 h 199090"/>
              <a:gd name="connsiteX23" fmla="*/ 9491 w 199113"/>
              <a:gd name="connsiteY23" fmla="*/ 189620 h 199090"/>
              <a:gd name="connsiteX24" fmla="*/ 9491 w 199113"/>
              <a:gd name="connsiteY24" fmla="*/ 4745 h 199090"/>
              <a:gd name="connsiteX25" fmla="*/ 4745 w 199113"/>
              <a:gd name="connsiteY25" fmla="*/ 0 h 199090"/>
              <a:gd name="connsiteX26" fmla="*/ 0 w 199113"/>
              <a:gd name="connsiteY26" fmla="*/ 4745 h 199090"/>
              <a:gd name="connsiteX27" fmla="*/ 0 w 199113"/>
              <a:gd name="connsiteY27" fmla="*/ 194333 h 199090"/>
              <a:gd name="connsiteX28" fmla="*/ 4753 w 199113"/>
              <a:gd name="connsiteY28" fmla="*/ 199091 h 199090"/>
              <a:gd name="connsiteX29" fmla="*/ 73204 w 199113"/>
              <a:gd name="connsiteY29" fmla="*/ 110229 h 199090"/>
              <a:gd name="connsiteX30" fmla="*/ 73204 w 199113"/>
              <a:gd name="connsiteY30" fmla="*/ 110229 h 199090"/>
              <a:gd name="connsiteX31" fmla="*/ 42023 w 199113"/>
              <a:gd name="connsiteY31" fmla="*/ 155999 h 199090"/>
              <a:gd name="connsiteX32" fmla="*/ 175110 w 199113"/>
              <a:gd name="connsiteY32" fmla="*/ 155999 h 199090"/>
              <a:gd name="connsiteX33" fmla="*/ 175110 w 199113"/>
              <a:gd name="connsiteY33" fmla="*/ 50599 h 199090"/>
              <a:gd name="connsiteX34" fmla="*/ 147592 w 199113"/>
              <a:gd name="connsiteY34" fmla="*/ 91088 h 199090"/>
              <a:gd name="connsiteX35" fmla="*/ 145436 w 199113"/>
              <a:gd name="connsiteY35" fmla="*/ 93278 h 199090"/>
              <a:gd name="connsiteX36" fmla="*/ 134523 w 199113"/>
              <a:gd name="connsiteY36" fmla="*/ 91164 h 199090"/>
              <a:gd name="connsiteX37" fmla="*/ 125257 w 199113"/>
              <a:gd name="connsiteY37" fmla="*/ 77585 h 199090"/>
              <a:gd name="connsiteX38" fmla="*/ 94666 w 199113"/>
              <a:gd name="connsiteY38" fmla="*/ 122543 h 199090"/>
              <a:gd name="connsiteX39" fmla="*/ 92531 w 199113"/>
              <a:gd name="connsiteY39" fmla="*/ 124741 h 199090"/>
              <a:gd name="connsiteX40" fmla="*/ 81638 w 199113"/>
              <a:gd name="connsiteY40" fmla="*/ 122627 h 199090"/>
              <a:gd name="connsiteX41" fmla="*/ 73204 w 199113"/>
              <a:gd name="connsiteY41" fmla="*/ 110226 h 199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99113" h="199090">
                <a:moveTo>
                  <a:pt x="21049" y="158927"/>
                </a:moveTo>
                <a:lnTo>
                  <a:pt x="66657" y="91856"/>
                </a:lnTo>
                <a:cubicBezTo>
                  <a:pt x="69093" y="88248"/>
                  <a:pt x="73994" y="87299"/>
                  <a:pt x="77601" y="89735"/>
                </a:cubicBezTo>
                <a:cubicBezTo>
                  <a:pt x="77604" y="89738"/>
                  <a:pt x="77608" y="89740"/>
                  <a:pt x="77611" y="89742"/>
                </a:cubicBezTo>
                <a:cubicBezTo>
                  <a:pt x="78453" y="90318"/>
                  <a:pt x="79178" y="91050"/>
                  <a:pt x="79746" y="91898"/>
                </a:cubicBezTo>
                <a:lnTo>
                  <a:pt x="88121" y="104256"/>
                </a:lnTo>
                <a:lnTo>
                  <a:pt x="118728" y="59177"/>
                </a:lnTo>
                <a:cubicBezTo>
                  <a:pt x="121179" y="55583"/>
                  <a:pt x="126070" y="54639"/>
                  <a:pt x="129682" y="57062"/>
                </a:cubicBezTo>
                <a:cubicBezTo>
                  <a:pt x="130521" y="57656"/>
                  <a:pt x="131245" y="58399"/>
                  <a:pt x="131816" y="59253"/>
                </a:cubicBezTo>
                <a:lnTo>
                  <a:pt x="141024" y="72789"/>
                </a:lnTo>
                <a:lnTo>
                  <a:pt x="176510" y="20592"/>
                </a:lnTo>
                <a:cubicBezTo>
                  <a:pt x="178933" y="17001"/>
                  <a:pt x="183809" y="16054"/>
                  <a:pt x="187400" y="18477"/>
                </a:cubicBezTo>
                <a:cubicBezTo>
                  <a:pt x="189575" y="19945"/>
                  <a:pt x="190872" y="22402"/>
                  <a:pt x="190857" y="25025"/>
                </a:cubicBezTo>
                <a:lnTo>
                  <a:pt x="190899" y="25025"/>
                </a:lnTo>
                <a:lnTo>
                  <a:pt x="190899" y="163930"/>
                </a:lnTo>
                <a:cubicBezTo>
                  <a:pt x="190890" y="168296"/>
                  <a:pt x="187359" y="171835"/>
                  <a:pt x="182993" y="171856"/>
                </a:cubicBezTo>
                <a:lnTo>
                  <a:pt x="27164" y="171856"/>
                </a:lnTo>
                <a:cubicBezTo>
                  <a:pt x="22789" y="171852"/>
                  <a:pt x="19243" y="168306"/>
                  <a:pt x="19239" y="163930"/>
                </a:cubicBezTo>
                <a:cubicBezTo>
                  <a:pt x="19230" y="162101"/>
                  <a:pt x="19871" y="160328"/>
                  <a:pt x="21048" y="158927"/>
                </a:cubicBezTo>
                <a:close/>
                <a:moveTo>
                  <a:pt x="4874" y="199090"/>
                </a:moveTo>
                <a:lnTo>
                  <a:pt x="194379" y="199090"/>
                </a:lnTo>
                <a:cubicBezTo>
                  <a:pt x="196994" y="199090"/>
                  <a:pt x="199113" y="196970"/>
                  <a:pt x="199113" y="194355"/>
                </a:cubicBezTo>
                <a:cubicBezTo>
                  <a:pt x="199113" y="191740"/>
                  <a:pt x="196994" y="189620"/>
                  <a:pt x="194379" y="189620"/>
                </a:cubicBezTo>
                <a:lnTo>
                  <a:pt x="9491" y="189620"/>
                </a:lnTo>
                <a:lnTo>
                  <a:pt x="9491" y="4745"/>
                </a:lnTo>
                <a:cubicBezTo>
                  <a:pt x="9491" y="2125"/>
                  <a:pt x="7366" y="0"/>
                  <a:pt x="4745" y="0"/>
                </a:cubicBezTo>
                <a:cubicBezTo>
                  <a:pt x="2125" y="0"/>
                  <a:pt x="0" y="2125"/>
                  <a:pt x="0" y="4745"/>
                </a:cubicBezTo>
                <a:lnTo>
                  <a:pt x="0" y="194333"/>
                </a:lnTo>
                <a:cubicBezTo>
                  <a:pt x="3" y="196958"/>
                  <a:pt x="2128" y="199085"/>
                  <a:pt x="4753" y="199091"/>
                </a:cubicBezTo>
                <a:close/>
                <a:moveTo>
                  <a:pt x="73204" y="110229"/>
                </a:moveTo>
                <a:lnTo>
                  <a:pt x="73204" y="110229"/>
                </a:lnTo>
                <a:lnTo>
                  <a:pt x="42023" y="155999"/>
                </a:lnTo>
                <a:lnTo>
                  <a:pt x="175110" y="155999"/>
                </a:lnTo>
                <a:lnTo>
                  <a:pt x="175110" y="50599"/>
                </a:lnTo>
                <a:lnTo>
                  <a:pt x="147592" y="91088"/>
                </a:lnTo>
                <a:cubicBezTo>
                  <a:pt x="147006" y="91938"/>
                  <a:pt x="146277" y="92679"/>
                  <a:pt x="145436" y="93278"/>
                </a:cubicBezTo>
                <a:cubicBezTo>
                  <a:pt x="141833" y="95682"/>
                  <a:pt x="136967" y="94739"/>
                  <a:pt x="134523" y="91164"/>
                </a:cubicBezTo>
                <a:lnTo>
                  <a:pt x="125257" y="77585"/>
                </a:lnTo>
                <a:lnTo>
                  <a:pt x="94666" y="122543"/>
                </a:lnTo>
                <a:cubicBezTo>
                  <a:pt x="94093" y="123399"/>
                  <a:pt x="93370" y="124144"/>
                  <a:pt x="92531" y="124741"/>
                </a:cubicBezTo>
                <a:cubicBezTo>
                  <a:pt x="88934" y="127142"/>
                  <a:pt x="84075" y="126199"/>
                  <a:pt x="81638" y="122627"/>
                </a:cubicBezTo>
                <a:lnTo>
                  <a:pt x="73204" y="110226"/>
                </a:lnTo>
                <a:close/>
              </a:path>
            </a:pathLst>
          </a:custGeom>
          <a:solidFill>
            <a:srgbClr val="BFBFB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2400" dirty="0">
              <a:latin typeface="Lato" panose="020F0502020204030203" pitchFamily="34" charset="0"/>
            </a:endParaRPr>
          </a:p>
        </p:txBody>
      </p:sp>
      <p:sp>
        <p:nvSpPr>
          <p:cNvPr id="55" name="Freeform: Shape 303">
            <a:extLst>
              <a:ext uri="{FF2B5EF4-FFF2-40B4-BE49-F238E27FC236}">
                <a16:creationId xmlns:a16="http://schemas.microsoft.com/office/drawing/2014/main" id="{94154BD1-6AA6-4F25-9B66-5A7D6DEA30DD}"/>
              </a:ext>
            </a:extLst>
          </p:cNvPr>
          <p:cNvSpPr/>
          <p:nvPr/>
        </p:nvSpPr>
        <p:spPr>
          <a:xfrm>
            <a:off x="1092053" y="4207275"/>
            <a:ext cx="265592" cy="265592"/>
          </a:xfrm>
          <a:custGeom>
            <a:avLst/>
            <a:gdLst>
              <a:gd name="connsiteX0" fmla="*/ 99509 w 199194"/>
              <a:gd name="connsiteY0" fmla="*/ 0 h 199194"/>
              <a:gd name="connsiteX1" fmla="*/ 199194 w 199194"/>
              <a:gd name="connsiteY1" fmla="*/ 99509 h 199194"/>
              <a:gd name="connsiteX2" fmla="*/ 99686 w 199194"/>
              <a:gd name="connsiteY2" fmla="*/ 199194 h 199194"/>
              <a:gd name="connsiteX3" fmla="*/ 0 w 199194"/>
              <a:gd name="connsiteY3" fmla="*/ 99686 h 199194"/>
              <a:gd name="connsiteX4" fmla="*/ 29153 w 199194"/>
              <a:gd name="connsiteY4" fmla="*/ 29189 h 199194"/>
              <a:gd name="connsiteX5" fmla="*/ 99509 w 199194"/>
              <a:gd name="connsiteY5" fmla="*/ 0 h 199194"/>
              <a:gd name="connsiteX6" fmla="*/ 94942 w 199194"/>
              <a:gd name="connsiteY6" fmla="*/ 183693 h 199194"/>
              <a:gd name="connsiteX7" fmla="*/ 94942 w 199194"/>
              <a:gd name="connsiteY7" fmla="*/ 183693 h 199194"/>
              <a:gd name="connsiteX8" fmla="*/ 94942 w 199194"/>
              <a:gd name="connsiteY8" fmla="*/ 151430 h 199194"/>
              <a:gd name="connsiteX9" fmla="*/ 69097 w 199194"/>
              <a:gd name="connsiteY9" fmla="*/ 156787 h 199194"/>
              <a:gd name="connsiteX10" fmla="*/ 65632 w 199194"/>
              <a:gd name="connsiteY10" fmla="*/ 158126 h 199194"/>
              <a:gd name="connsiteX11" fmla="*/ 67758 w 199194"/>
              <a:gd name="connsiteY11" fmla="*/ 162342 h 199194"/>
              <a:gd name="connsiteX12" fmla="*/ 85644 w 199194"/>
              <a:gd name="connsiteY12" fmla="*/ 182670 h 199194"/>
              <a:gd name="connsiteX13" fmla="*/ 94942 w 199194"/>
              <a:gd name="connsiteY13" fmla="*/ 183693 h 199194"/>
              <a:gd name="connsiteX14" fmla="*/ 159074 w 199194"/>
              <a:gd name="connsiteY14" fmla="*/ 39984 h 199194"/>
              <a:gd name="connsiteX15" fmla="*/ 159074 w 199194"/>
              <a:gd name="connsiteY15" fmla="*/ 39984 h 199194"/>
              <a:gd name="connsiteX16" fmla="*/ 156948 w 199194"/>
              <a:gd name="connsiteY16" fmla="*/ 37975 h 199194"/>
              <a:gd name="connsiteX17" fmla="*/ 145287 w 199194"/>
              <a:gd name="connsiteY17" fmla="*/ 45458 h 199194"/>
              <a:gd name="connsiteX18" fmla="*/ 154584 w 199194"/>
              <a:gd name="connsiteY18" fmla="*/ 94980 h 199194"/>
              <a:gd name="connsiteX19" fmla="*/ 183657 w 199194"/>
              <a:gd name="connsiteY19" fmla="*/ 94980 h 199194"/>
              <a:gd name="connsiteX20" fmla="*/ 159074 w 199194"/>
              <a:gd name="connsiteY20" fmla="*/ 39984 h 199194"/>
              <a:gd name="connsiteX21" fmla="*/ 149700 w 199194"/>
              <a:gd name="connsiteY21" fmla="*/ 31949 h 199194"/>
              <a:gd name="connsiteX22" fmla="*/ 149700 w 199194"/>
              <a:gd name="connsiteY22" fmla="*/ 31949 h 199194"/>
              <a:gd name="connsiteX23" fmla="*/ 132600 w 199194"/>
              <a:gd name="connsiteY23" fmla="*/ 22058 h 199194"/>
              <a:gd name="connsiteX24" fmla="*/ 139300 w 199194"/>
              <a:gd name="connsiteY24" fmla="*/ 32380 h 199194"/>
              <a:gd name="connsiteX25" fmla="*/ 141663 w 199194"/>
              <a:gd name="connsiteY25" fmla="*/ 36991 h 199194"/>
              <a:gd name="connsiteX26" fmla="*/ 149700 w 199194"/>
              <a:gd name="connsiteY26" fmla="*/ 31949 h 199194"/>
              <a:gd name="connsiteX27" fmla="*/ 113378 w 199194"/>
              <a:gd name="connsiteY27" fmla="*/ 16467 h 199194"/>
              <a:gd name="connsiteX28" fmla="*/ 113378 w 199194"/>
              <a:gd name="connsiteY28" fmla="*/ 16467 h 199194"/>
              <a:gd name="connsiteX29" fmla="*/ 104080 w 199194"/>
              <a:gd name="connsiteY29" fmla="*/ 15442 h 199194"/>
              <a:gd name="connsiteX30" fmla="*/ 104080 w 199194"/>
              <a:gd name="connsiteY30" fmla="*/ 47705 h 199194"/>
              <a:gd name="connsiteX31" fmla="*/ 129921 w 199194"/>
              <a:gd name="connsiteY31" fmla="*/ 42348 h 199194"/>
              <a:gd name="connsiteX32" fmla="*/ 133390 w 199194"/>
              <a:gd name="connsiteY32" fmla="*/ 41009 h 199194"/>
              <a:gd name="connsiteX33" fmla="*/ 131260 w 199194"/>
              <a:gd name="connsiteY33" fmla="*/ 36793 h 199194"/>
              <a:gd name="connsiteX34" fmla="*/ 113378 w 199194"/>
              <a:gd name="connsiteY34" fmla="*/ 16467 h 199194"/>
              <a:gd name="connsiteX35" fmla="*/ 94942 w 199194"/>
              <a:gd name="connsiteY35" fmla="*/ 15442 h 199194"/>
              <a:gd name="connsiteX36" fmla="*/ 94942 w 199194"/>
              <a:gd name="connsiteY36" fmla="*/ 15442 h 199194"/>
              <a:gd name="connsiteX37" fmla="*/ 85644 w 199194"/>
              <a:gd name="connsiteY37" fmla="*/ 16467 h 199194"/>
              <a:gd name="connsiteX38" fmla="*/ 67758 w 199194"/>
              <a:gd name="connsiteY38" fmla="*/ 36793 h 199194"/>
              <a:gd name="connsiteX39" fmla="*/ 65632 w 199194"/>
              <a:gd name="connsiteY39" fmla="*/ 41009 h 199194"/>
              <a:gd name="connsiteX40" fmla="*/ 69097 w 199194"/>
              <a:gd name="connsiteY40" fmla="*/ 42348 h 199194"/>
              <a:gd name="connsiteX41" fmla="*/ 94942 w 199194"/>
              <a:gd name="connsiteY41" fmla="*/ 47705 h 199194"/>
              <a:gd name="connsiteX42" fmla="*/ 94942 w 199194"/>
              <a:gd name="connsiteY42" fmla="*/ 15442 h 199194"/>
              <a:gd name="connsiteX43" fmla="*/ 66419 w 199194"/>
              <a:gd name="connsiteY43" fmla="*/ 22058 h 199194"/>
              <a:gd name="connsiteX44" fmla="*/ 66419 w 199194"/>
              <a:gd name="connsiteY44" fmla="*/ 22058 h 199194"/>
              <a:gd name="connsiteX45" fmla="*/ 49242 w 199194"/>
              <a:gd name="connsiteY45" fmla="*/ 31949 h 199194"/>
              <a:gd name="connsiteX46" fmla="*/ 57358 w 199194"/>
              <a:gd name="connsiteY46" fmla="*/ 36991 h 199194"/>
              <a:gd name="connsiteX47" fmla="*/ 59723 w 199194"/>
              <a:gd name="connsiteY47" fmla="*/ 32380 h 199194"/>
              <a:gd name="connsiteX48" fmla="*/ 66419 w 199194"/>
              <a:gd name="connsiteY48" fmla="*/ 22058 h 199194"/>
              <a:gd name="connsiteX49" fmla="*/ 42074 w 199194"/>
              <a:gd name="connsiteY49" fmla="*/ 37975 h 199194"/>
              <a:gd name="connsiteX50" fmla="*/ 42074 w 199194"/>
              <a:gd name="connsiteY50" fmla="*/ 37975 h 199194"/>
              <a:gd name="connsiteX51" fmla="*/ 39948 w 199194"/>
              <a:gd name="connsiteY51" fmla="*/ 39984 h 199194"/>
              <a:gd name="connsiteX52" fmla="*/ 15365 w 199194"/>
              <a:gd name="connsiteY52" fmla="*/ 94980 h 199194"/>
              <a:gd name="connsiteX53" fmla="*/ 44438 w 199194"/>
              <a:gd name="connsiteY53" fmla="*/ 94980 h 199194"/>
              <a:gd name="connsiteX54" fmla="*/ 53736 w 199194"/>
              <a:gd name="connsiteY54" fmla="*/ 45458 h 199194"/>
              <a:gd name="connsiteX55" fmla="*/ 42074 w 199194"/>
              <a:gd name="connsiteY55" fmla="*/ 37975 h 199194"/>
              <a:gd name="connsiteX56" fmla="*/ 15365 w 199194"/>
              <a:gd name="connsiteY56" fmla="*/ 104157 h 199194"/>
              <a:gd name="connsiteX57" fmla="*/ 15365 w 199194"/>
              <a:gd name="connsiteY57" fmla="*/ 104157 h 199194"/>
              <a:gd name="connsiteX58" fmla="*/ 39948 w 199194"/>
              <a:gd name="connsiteY58" fmla="*/ 159110 h 199194"/>
              <a:gd name="connsiteX59" fmla="*/ 42074 w 199194"/>
              <a:gd name="connsiteY59" fmla="*/ 161120 h 199194"/>
              <a:gd name="connsiteX60" fmla="*/ 53736 w 199194"/>
              <a:gd name="connsiteY60" fmla="*/ 153713 h 199194"/>
              <a:gd name="connsiteX61" fmla="*/ 44438 w 199194"/>
              <a:gd name="connsiteY61" fmla="*/ 104157 h 199194"/>
              <a:gd name="connsiteX62" fmla="*/ 49242 w 199194"/>
              <a:gd name="connsiteY62" fmla="*/ 167187 h 199194"/>
              <a:gd name="connsiteX63" fmla="*/ 49242 w 199194"/>
              <a:gd name="connsiteY63" fmla="*/ 167187 h 199194"/>
              <a:gd name="connsiteX64" fmla="*/ 66419 w 199194"/>
              <a:gd name="connsiteY64" fmla="*/ 177034 h 199194"/>
              <a:gd name="connsiteX65" fmla="*/ 59723 w 199194"/>
              <a:gd name="connsiteY65" fmla="*/ 166755 h 199194"/>
              <a:gd name="connsiteX66" fmla="*/ 57358 w 199194"/>
              <a:gd name="connsiteY66" fmla="*/ 162104 h 199194"/>
              <a:gd name="connsiteX67" fmla="*/ 49242 w 199194"/>
              <a:gd name="connsiteY67" fmla="*/ 167187 h 199194"/>
              <a:gd name="connsiteX68" fmla="*/ 104080 w 199194"/>
              <a:gd name="connsiteY68" fmla="*/ 183693 h 199194"/>
              <a:gd name="connsiteX69" fmla="*/ 104080 w 199194"/>
              <a:gd name="connsiteY69" fmla="*/ 183693 h 199194"/>
              <a:gd name="connsiteX70" fmla="*/ 113378 w 199194"/>
              <a:gd name="connsiteY70" fmla="*/ 182670 h 199194"/>
              <a:gd name="connsiteX71" fmla="*/ 131260 w 199194"/>
              <a:gd name="connsiteY71" fmla="*/ 162342 h 199194"/>
              <a:gd name="connsiteX72" fmla="*/ 133390 w 199194"/>
              <a:gd name="connsiteY72" fmla="*/ 158126 h 199194"/>
              <a:gd name="connsiteX73" fmla="*/ 129921 w 199194"/>
              <a:gd name="connsiteY73" fmla="*/ 156787 h 199194"/>
              <a:gd name="connsiteX74" fmla="*/ 104079 w 199194"/>
              <a:gd name="connsiteY74" fmla="*/ 151430 h 199194"/>
              <a:gd name="connsiteX75" fmla="*/ 104080 w 199194"/>
              <a:gd name="connsiteY75" fmla="*/ 183693 h 199194"/>
              <a:gd name="connsiteX76" fmla="*/ 132600 w 199194"/>
              <a:gd name="connsiteY76" fmla="*/ 177034 h 199194"/>
              <a:gd name="connsiteX77" fmla="*/ 132600 w 199194"/>
              <a:gd name="connsiteY77" fmla="*/ 177034 h 199194"/>
              <a:gd name="connsiteX78" fmla="*/ 149700 w 199194"/>
              <a:gd name="connsiteY78" fmla="*/ 167187 h 199194"/>
              <a:gd name="connsiteX79" fmla="*/ 141663 w 199194"/>
              <a:gd name="connsiteY79" fmla="*/ 162104 h 199194"/>
              <a:gd name="connsiteX80" fmla="*/ 139300 w 199194"/>
              <a:gd name="connsiteY80" fmla="*/ 166755 h 199194"/>
              <a:gd name="connsiteX81" fmla="*/ 132600 w 199194"/>
              <a:gd name="connsiteY81" fmla="*/ 177034 h 199194"/>
              <a:gd name="connsiteX82" fmla="*/ 156948 w 199194"/>
              <a:gd name="connsiteY82" fmla="*/ 161120 h 199194"/>
              <a:gd name="connsiteX83" fmla="*/ 156948 w 199194"/>
              <a:gd name="connsiteY83" fmla="*/ 161120 h 199194"/>
              <a:gd name="connsiteX84" fmla="*/ 159074 w 199194"/>
              <a:gd name="connsiteY84" fmla="*/ 159110 h 199194"/>
              <a:gd name="connsiteX85" fmla="*/ 183657 w 199194"/>
              <a:gd name="connsiteY85" fmla="*/ 104157 h 199194"/>
              <a:gd name="connsiteX86" fmla="*/ 154582 w 199194"/>
              <a:gd name="connsiteY86" fmla="*/ 104157 h 199194"/>
              <a:gd name="connsiteX87" fmla="*/ 145285 w 199194"/>
              <a:gd name="connsiteY87" fmla="*/ 153714 h 199194"/>
              <a:gd name="connsiteX88" fmla="*/ 156946 w 199194"/>
              <a:gd name="connsiteY88" fmla="*/ 161120 h 199194"/>
              <a:gd name="connsiteX89" fmla="*/ 137012 w 199194"/>
              <a:gd name="connsiteY89" fmla="*/ 49440 h 199194"/>
              <a:gd name="connsiteX90" fmla="*/ 137012 w 199194"/>
              <a:gd name="connsiteY90" fmla="*/ 49440 h 199194"/>
              <a:gd name="connsiteX91" fmla="*/ 133152 w 199194"/>
              <a:gd name="connsiteY91" fmla="*/ 50937 h 199194"/>
              <a:gd name="connsiteX92" fmla="*/ 104080 w 199194"/>
              <a:gd name="connsiteY92" fmla="*/ 56882 h 199194"/>
              <a:gd name="connsiteX93" fmla="*/ 104080 w 199194"/>
              <a:gd name="connsiteY93" fmla="*/ 94982 h 199194"/>
              <a:gd name="connsiteX94" fmla="*/ 145367 w 199194"/>
              <a:gd name="connsiteY94" fmla="*/ 94982 h 199194"/>
              <a:gd name="connsiteX95" fmla="*/ 137013 w 199194"/>
              <a:gd name="connsiteY95" fmla="*/ 49443 h 199194"/>
              <a:gd name="connsiteX96" fmla="*/ 94942 w 199194"/>
              <a:gd name="connsiteY96" fmla="*/ 56882 h 199194"/>
              <a:gd name="connsiteX97" fmla="*/ 94942 w 199194"/>
              <a:gd name="connsiteY97" fmla="*/ 56882 h 199194"/>
              <a:gd name="connsiteX98" fmla="*/ 65866 w 199194"/>
              <a:gd name="connsiteY98" fmla="*/ 50937 h 199194"/>
              <a:gd name="connsiteX99" fmla="*/ 62006 w 199194"/>
              <a:gd name="connsiteY99" fmla="*/ 49440 h 199194"/>
              <a:gd name="connsiteX100" fmla="*/ 53578 w 199194"/>
              <a:gd name="connsiteY100" fmla="*/ 94980 h 199194"/>
              <a:gd name="connsiteX101" fmla="*/ 94942 w 199194"/>
              <a:gd name="connsiteY101" fmla="*/ 94980 h 199194"/>
              <a:gd name="connsiteX102" fmla="*/ 94942 w 199194"/>
              <a:gd name="connsiteY102" fmla="*/ 56880 h 199194"/>
              <a:gd name="connsiteX103" fmla="*/ 94942 w 199194"/>
              <a:gd name="connsiteY103" fmla="*/ 142249 h 199194"/>
              <a:gd name="connsiteX104" fmla="*/ 94942 w 199194"/>
              <a:gd name="connsiteY104" fmla="*/ 142249 h 199194"/>
              <a:gd name="connsiteX105" fmla="*/ 94942 w 199194"/>
              <a:gd name="connsiteY105" fmla="*/ 104157 h 199194"/>
              <a:gd name="connsiteX106" fmla="*/ 53578 w 199194"/>
              <a:gd name="connsiteY106" fmla="*/ 104157 h 199194"/>
              <a:gd name="connsiteX107" fmla="*/ 62006 w 199194"/>
              <a:gd name="connsiteY107" fmla="*/ 149696 h 199194"/>
              <a:gd name="connsiteX108" fmla="*/ 65866 w 199194"/>
              <a:gd name="connsiteY108" fmla="*/ 148200 h 199194"/>
              <a:gd name="connsiteX109" fmla="*/ 94943 w 199194"/>
              <a:gd name="connsiteY109" fmla="*/ 142249 h 199194"/>
              <a:gd name="connsiteX110" fmla="*/ 104080 w 199194"/>
              <a:gd name="connsiteY110" fmla="*/ 142249 h 199194"/>
              <a:gd name="connsiteX111" fmla="*/ 104080 w 199194"/>
              <a:gd name="connsiteY111" fmla="*/ 142249 h 199194"/>
              <a:gd name="connsiteX112" fmla="*/ 133152 w 199194"/>
              <a:gd name="connsiteY112" fmla="*/ 148199 h 199194"/>
              <a:gd name="connsiteX113" fmla="*/ 136936 w 199194"/>
              <a:gd name="connsiteY113" fmla="*/ 149696 h 199194"/>
              <a:gd name="connsiteX114" fmla="*/ 145366 w 199194"/>
              <a:gd name="connsiteY114" fmla="*/ 104157 h 199194"/>
              <a:gd name="connsiteX115" fmla="*/ 104080 w 199194"/>
              <a:gd name="connsiteY115" fmla="*/ 104157 h 199194"/>
              <a:gd name="connsiteX116" fmla="*/ 104080 w 199194"/>
              <a:gd name="connsiteY116" fmla="*/ 142252 h 199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199194" h="199194">
                <a:moveTo>
                  <a:pt x="99509" y="0"/>
                </a:moveTo>
                <a:cubicBezTo>
                  <a:pt x="154514" y="-49"/>
                  <a:pt x="199145" y="44503"/>
                  <a:pt x="199194" y="99509"/>
                </a:cubicBezTo>
                <a:cubicBezTo>
                  <a:pt x="199243" y="154515"/>
                  <a:pt x="154692" y="199146"/>
                  <a:pt x="99686" y="199194"/>
                </a:cubicBezTo>
                <a:cubicBezTo>
                  <a:pt x="44680" y="199243"/>
                  <a:pt x="49" y="154692"/>
                  <a:pt x="0" y="99686"/>
                </a:cubicBezTo>
                <a:cubicBezTo>
                  <a:pt x="-23" y="73249"/>
                  <a:pt x="10465" y="47888"/>
                  <a:pt x="29153" y="29189"/>
                </a:cubicBezTo>
                <a:cubicBezTo>
                  <a:pt x="47792" y="10492"/>
                  <a:pt x="73109" y="-11"/>
                  <a:pt x="99509" y="0"/>
                </a:cubicBezTo>
                <a:close/>
                <a:moveTo>
                  <a:pt x="94942" y="183693"/>
                </a:moveTo>
                <a:lnTo>
                  <a:pt x="94942" y="183693"/>
                </a:lnTo>
                <a:lnTo>
                  <a:pt x="94942" y="151430"/>
                </a:lnTo>
                <a:cubicBezTo>
                  <a:pt x="86101" y="151867"/>
                  <a:pt x="77383" y="153674"/>
                  <a:pt x="69097" y="156787"/>
                </a:cubicBezTo>
                <a:cubicBezTo>
                  <a:pt x="67915" y="157183"/>
                  <a:pt x="66734" y="157654"/>
                  <a:pt x="65632" y="158126"/>
                </a:cubicBezTo>
                <a:cubicBezTo>
                  <a:pt x="66341" y="159583"/>
                  <a:pt x="67048" y="160962"/>
                  <a:pt x="67758" y="162342"/>
                </a:cubicBezTo>
                <a:cubicBezTo>
                  <a:pt x="71895" y="170528"/>
                  <a:pt x="78051" y="177524"/>
                  <a:pt x="85644" y="182670"/>
                </a:cubicBezTo>
                <a:cubicBezTo>
                  <a:pt x="88723" y="183179"/>
                  <a:pt x="91826" y="183521"/>
                  <a:pt x="94942" y="183693"/>
                </a:cubicBezTo>
                <a:close/>
                <a:moveTo>
                  <a:pt x="159074" y="39984"/>
                </a:moveTo>
                <a:lnTo>
                  <a:pt x="159074" y="39984"/>
                </a:lnTo>
                <a:cubicBezTo>
                  <a:pt x="158364" y="39314"/>
                  <a:pt x="157656" y="38645"/>
                  <a:pt x="156948" y="37975"/>
                </a:cubicBezTo>
                <a:cubicBezTo>
                  <a:pt x="153260" y="40768"/>
                  <a:pt x="149361" y="43269"/>
                  <a:pt x="145287" y="45458"/>
                </a:cubicBezTo>
                <a:cubicBezTo>
                  <a:pt x="151141" y="61327"/>
                  <a:pt x="154284" y="78068"/>
                  <a:pt x="154584" y="94980"/>
                </a:cubicBezTo>
                <a:lnTo>
                  <a:pt x="183657" y="94980"/>
                </a:lnTo>
                <a:cubicBezTo>
                  <a:pt x="182496" y="74250"/>
                  <a:pt x="173746" y="54674"/>
                  <a:pt x="159074" y="39984"/>
                </a:cubicBezTo>
                <a:close/>
                <a:moveTo>
                  <a:pt x="149700" y="31949"/>
                </a:moveTo>
                <a:lnTo>
                  <a:pt x="149700" y="31949"/>
                </a:lnTo>
                <a:cubicBezTo>
                  <a:pt x="144410" y="27989"/>
                  <a:pt x="138670" y="24669"/>
                  <a:pt x="132600" y="22058"/>
                </a:cubicBezTo>
                <a:cubicBezTo>
                  <a:pt x="135048" y="25355"/>
                  <a:pt x="137286" y="28802"/>
                  <a:pt x="139300" y="32380"/>
                </a:cubicBezTo>
                <a:cubicBezTo>
                  <a:pt x="140086" y="33877"/>
                  <a:pt x="140873" y="35414"/>
                  <a:pt x="141663" y="36991"/>
                </a:cubicBezTo>
                <a:cubicBezTo>
                  <a:pt x="144419" y="35454"/>
                  <a:pt x="147092" y="33760"/>
                  <a:pt x="149700" y="31949"/>
                </a:cubicBezTo>
                <a:close/>
                <a:moveTo>
                  <a:pt x="113378" y="16467"/>
                </a:moveTo>
                <a:lnTo>
                  <a:pt x="113378" y="16467"/>
                </a:lnTo>
                <a:cubicBezTo>
                  <a:pt x="110299" y="15961"/>
                  <a:pt x="107195" y="15619"/>
                  <a:pt x="104080" y="15442"/>
                </a:cubicBezTo>
                <a:lnTo>
                  <a:pt x="104080" y="47705"/>
                </a:lnTo>
                <a:cubicBezTo>
                  <a:pt x="112916" y="47249"/>
                  <a:pt x="121632" y="45443"/>
                  <a:pt x="129921" y="42348"/>
                </a:cubicBezTo>
                <a:cubicBezTo>
                  <a:pt x="131103" y="41953"/>
                  <a:pt x="132285" y="41481"/>
                  <a:pt x="133390" y="41009"/>
                </a:cubicBezTo>
                <a:cubicBezTo>
                  <a:pt x="132680" y="39549"/>
                  <a:pt x="131970" y="38132"/>
                  <a:pt x="131260" y="36793"/>
                </a:cubicBezTo>
                <a:cubicBezTo>
                  <a:pt x="127111" y="28616"/>
                  <a:pt x="120960" y="21624"/>
                  <a:pt x="113378" y="16467"/>
                </a:cubicBezTo>
                <a:close/>
                <a:moveTo>
                  <a:pt x="94942" y="15442"/>
                </a:moveTo>
                <a:lnTo>
                  <a:pt x="94942" y="15442"/>
                </a:lnTo>
                <a:cubicBezTo>
                  <a:pt x="91826" y="15615"/>
                  <a:pt x="88722" y="15957"/>
                  <a:pt x="85644" y="16467"/>
                </a:cubicBezTo>
                <a:cubicBezTo>
                  <a:pt x="78041" y="21601"/>
                  <a:pt x="71882" y="28599"/>
                  <a:pt x="67758" y="36793"/>
                </a:cubicBezTo>
                <a:cubicBezTo>
                  <a:pt x="67048" y="38132"/>
                  <a:pt x="66341" y="39549"/>
                  <a:pt x="65632" y="41009"/>
                </a:cubicBezTo>
                <a:cubicBezTo>
                  <a:pt x="66734" y="41485"/>
                  <a:pt x="67918" y="41953"/>
                  <a:pt x="69097" y="42348"/>
                </a:cubicBezTo>
                <a:cubicBezTo>
                  <a:pt x="77388" y="45443"/>
                  <a:pt x="86104" y="47249"/>
                  <a:pt x="94942" y="47705"/>
                </a:cubicBezTo>
                <a:lnTo>
                  <a:pt x="94942" y="15442"/>
                </a:lnTo>
                <a:close/>
                <a:moveTo>
                  <a:pt x="66419" y="22058"/>
                </a:moveTo>
                <a:lnTo>
                  <a:pt x="66419" y="22058"/>
                </a:lnTo>
                <a:cubicBezTo>
                  <a:pt x="60334" y="24687"/>
                  <a:pt x="54571" y="28006"/>
                  <a:pt x="49242" y="31949"/>
                </a:cubicBezTo>
                <a:cubicBezTo>
                  <a:pt x="51843" y="33759"/>
                  <a:pt x="54603" y="35454"/>
                  <a:pt x="57358" y="36991"/>
                </a:cubicBezTo>
                <a:cubicBezTo>
                  <a:pt x="58145" y="35414"/>
                  <a:pt x="58933" y="33877"/>
                  <a:pt x="59723" y="32380"/>
                </a:cubicBezTo>
                <a:cubicBezTo>
                  <a:pt x="61733" y="28801"/>
                  <a:pt x="63970" y="25353"/>
                  <a:pt x="66419" y="22058"/>
                </a:cubicBezTo>
                <a:close/>
                <a:moveTo>
                  <a:pt x="42074" y="37975"/>
                </a:moveTo>
                <a:lnTo>
                  <a:pt x="42074" y="37975"/>
                </a:lnTo>
                <a:cubicBezTo>
                  <a:pt x="41364" y="38645"/>
                  <a:pt x="40655" y="39315"/>
                  <a:pt x="39948" y="39984"/>
                </a:cubicBezTo>
                <a:cubicBezTo>
                  <a:pt x="25247" y="54654"/>
                  <a:pt x="16490" y="74242"/>
                  <a:pt x="15365" y="94980"/>
                </a:cubicBezTo>
                <a:lnTo>
                  <a:pt x="44438" y="94980"/>
                </a:lnTo>
                <a:cubicBezTo>
                  <a:pt x="44736" y="78068"/>
                  <a:pt x="47880" y="61327"/>
                  <a:pt x="53736" y="45458"/>
                </a:cubicBezTo>
                <a:cubicBezTo>
                  <a:pt x="49660" y="43271"/>
                  <a:pt x="45761" y="40769"/>
                  <a:pt x="42074" y="37975"/>
                </a:cubicBezTo>
                <a:close/>
                <a:moveTo>
                  <a:pt x="15365" y="104157"/>
                </a:moveTo>
                <a:lnTo>
                  <a:pt x="15365" y="104157"/>
                </a:lnTo>
                <a:cubicBezTo>
                  <a:pt x="16483" y="124884"/>
                  <a:pt x="25241" y="144462"/>
                  <a:pt x="39948" y="159110"/>
                </a:cubicBezTo>
                <a:lnTo>
                  <a:pt x="42074" y="161120"/>
                </a:lnTo>
                <a:cubicBezTo>
                  <a:pt x="45771" y="158364"/>
                  <a:pt x="49669" y="155888"/>
                  <a:pt x="53736" y="153713"/>
                </a:cubicBezTo>
                <a:cubicBezTo>
                  <a:pt x="47887" y="137831"/>
                  <a:pt x="44744" y="121079"/>
                  <a:pt x="44438" y="104157"/>
                </a:cubicBezTo>
                <a:close/>
                <a:moveTo>
                  <a:pt x="49242" y="167187"/>
                </a:moveTo>
                <a:lnTo>
                  <a:pt x="49242" y="167187"/>
                </a:lnTo>
                <a:cubicBezTo>
                  <a:pt x="54561" y="171132"/>
                  <a:pt x="60327" y="174437"/>
                  <a:pt x="66419" y="177034"/>
                </a:cubicBezTo>
                <a:cubicBezTo>
                  <a:pt x="63961" y="173760"/>
                  <a:pt x="61724" y="170326"/>
                  <a:pt x="59723" y="166755"/>
                </a:cubicBezTo>
                <a:cubicBezTo>
                  <a:pt x="58936" y="165259"/>
                  <a:pt x="58145" y="163721"/>
                  <a:pt x="57358" y="162104"/>
                </a:cubicBezTo>
                <a:cubicBezTo>
                  <a:pt x="54603" y="163681"/>
                  <a:pt x="51843" y="165376"/>
                  <a:pt x="49242" y="167187"/>
                </a:cubicBezTo>
                <a:close/>
                <a:moveTo>
                  <a:pt x="104080" y="183693"/>
                </a:moveTo>
                <a:lnTo>
                  <a:pt x="104080" y="183693"/>
                </a:lnTo>
                <a:cubicBezTo>
                  <a:pt x="107195" y="183516"/>
                  <a:pt x="110299" y="183174"/>
                  <a:pt x="113378" y="182670"/>
                </a:cubicBezTo>
                <a:cubicBezTo>
                  <a:pt x="120950" y="177501"/>
                  <a:pt x="127099" y="170511"/>
                  <a:pt x="131260" y="162342"/>
                </a:cubicBezTo>
                <a:cubicBezTo>
                  <a:pt x="131970" y="160962"/>
                  <a:pt x="132680" y="159580"/>
                  <a:pt x="133390" y="158126"/>
                </a:cubicBezTo>
                <a:cubicBezTo>
                  <a:pt x="132285" y="157650"/>
                  <a:pt x="131104" y="157183"/>
                  <a:pt x="129921" y="156787"/>
                </a:cubicBezTo>
                <a:cubicBezTo>
                  <a:pt x="121636" y="153674"/>
                  <a:pt x="112919" y="151867"/>
                  <a:pt x="104079" y="151430"/>
                </a:cubicBezTo>
                <a:lnTo>
                  <a:pt x="104080" y="183693"/>
                </a:lnTo>
                <a:close/>
                <a:moveTo>
                  <a:pt x="132600" y="177034"/>
                </a:moveTo>
                <a:lnTo>
                  <a:pt x="132600" y="177034"/>
                </a:lnTo>
                <a:cubicBezTo>
                  <a:pt x="138677" y="174456"/>
                  <a:pt x="144419" y="171149"/>
                  <a:pt x="149700" y="167187"/>
                </a:cubicBezTo>
                <a:cubicBezTo>
                  <a:pt x="147097" y="165335"/>
                  <a:pt x="144419" y="163681"/>
                  <a:pt x="141663" y="162104"/>
                </a:cubicBezTo>
                <a:cubicBezTo>
                  <a:pt x="140873" y="163723"/>
                  <a:pt x="140086" y="165259"/>
                  <a:pt x="139300" y="166755"/>
                </a:cubicBezTo>
                <a:cubicBezTo>
                  <a:pt x="137295" y="170325"/>
                  <a:pt x="135057" y="173758"/>
                  <a:pt x="132600" y="177034"/>
                </a:cubicBezTo>
                <a:close/>
                <a:moveTo>
                  <a:pt x="156948" y="161120"/>
                </a:moveTo>
                <a:lnTo>
                  <a:pt x="156948" y="161120"/>
                </a:lnTo>
                <a:lnTo>
                  <a:pt x="159074" y="159110"/>
                </a:lnTo>
                <a:cubicBezTo>
                  <a:pt x="173752" y="144442"/>
                  <a:pt x="182505" y="124876"/>
                  <a:pt x="183657" y="104157"/>
                </a:cubicBezTo>
                <a:lnTo>
                  <a:pt x="154582" y="104157"/>
                </a:lnTo>
                <a:cubicBezTo>
                  <a:pt x="154274" y="121079"/>
                  <a:pt x="151132" y="137830"/>
                  <a:pt x="145285" y="153714"/>
                </a:cubicBezTo>
                <a:cubicBezTo>
                  <a:pt x="149350" y="155890"/>
                  <a:pt x="153248" y="158365"/>
                  <a:pt x="156946" y="161120"/>
                </a:cubicBezTo>
                <a:close/>
                <a:moveTo>
                  <a:pt x="137012" y="49440"/>
                </a:moveTo>
                <a:lnTo>
                  <a:pt x="137012" y="49440"/>
                </a:lnTo>
                <a:cubicBezTo>
                  <a:pt x="135754" y="49952"/>
                  <a:pt x="134491" y="50461"/>
                  <a:pt x="133152" y="50937"/>
                </a:cubicBezTo>
                <a:cubicBezTo>
                  <a:pt x="123826" y="54408"/>
                  <a:pt x="114019" y="56413"/>
                  <a:pt x="104080" y="56882"/>
                </a:cubicBezTo>
                <a:lnTo>
                  <a:pt x="104080" y="94982"/>
                </a:lnTo>
                <a:lnTo>
                  <a:pt x="145367" y="94982"/>
                </a:lnTo>
                <a:cubicBezTo>
                  <a:pt x="145082" y="79449"/>
                  <a:pt x="142260" y="64066"/>
                  <a:pt x="137013" y="49443"/>
                </a:cubicBezTo>
                <a:close/>
                <a:moveTo>
                  <a:pt x="94942" y="56882"/>
                </a:moveTo>
                <a:lnTo>
                  <a:pt x="94942" y="56882"/>
                </a:lnTo>
                <a:cubicBezTo>
                  <a:pt x="85001" y="56413"/>
                  <a:pt x="75193" y="54407"/>
                  <a:pt x="65866" y="50937"/>
                </a:cubicBezTo>
                <a:cubicBezTo>
                  <a:pt x="64607" y="50461"/>
                  <a:pt x="63268" y="49952"/>
                  <a:pt x="62006" y="49440"/>
                </a:cubicBezTo>
                <a:cubicBezTo>
                  <a:pt x="56768" y="64068"/>
                  <a:pt x="53922" y="79445"/>
                  <a:pt x="53578" y="94980"/>
                </a:cubicBezTo>
                <a:lnTo>
                  <a:pt x="94942" y="94980"/>
                </a:lnTo>
                <a:lnTo>
                  <a:pt x="94942" y="56880"/>
                </a:lnTo>
                <a:close/>
                <a:moveTo>
                  <a:pt x="94942" y="142249"/>
                </a:moveTo>
                <a:lnTo>
                  <a:pt x="94942" y="142249"/>
                </a:lnTo>
                <a:lnTo>
                  <a:pt x="94942" y="104157"/>
                </a:lnTo>
                <a:lnTo>
                  <a:pt x="53578" y="104157"/>
                </a:lnTo>
                <a:cubicBezTo>
                  <a:pt x="53923" y="119691"/>
                  <a:pt x="56769" y="135067"/>
                  <a:pt x="62006" y="149696"/>
                </a:cubicBezTo>
                <a:cubicBezTo>
                  <a:pt x="63345" y="149184"/>
                  <a:pt x="64607" y="148671"/>
                  <a:pt x="65866" y="148200"/>
                </a:cubicBezTo>
                <a:cubicBezTo>
                  <a:pt x="75188" y="144710"/>
                  <a:pt x="84999" y="142702"/>
                  <a:pt x="94943" y="142249"/>
                </a:cubicBezTo>
                <a:close/>
                <a:moveTo>
                  <a:pt x="104080" y="142249"/>
                </a:moveTo>
                <a:lnTo>
                  <a:pt x="104080" y="142249"/>
                </a:lnTo>
                <a:cubicBezTo>
                  <a:pt x="114022" y="142702"/>
                  <a:pt x="123831" y="144710"/>
                  <a:pt x="133152" y="148199"/>
                </a:cubicBezTo>
                <a:cubicBezTo>
                  <a:pt x="134415" y="148671"/>
                  <a:pt x="135754" y="149184"/>
                  <a:pt x="136936" y="149696"/>
                </a:cubicBezTo>
                <a:cubicBezTo>
                  <a:pt x="142246" y="135087"/>
                  <a:pt x="145095" y="119698"/>
                  <a:pt x="145366" y="104157"/>
                </a:cubicBezTo>
                <a:lnTo>
                  <a:pt x="104080" y="104157"/>
                </a:lnTo>
                <a:lnTo>
                  <a:pt x="104080" y="142252"/>
                </a:lnTo>
                <a:close/>
              </a:path>
            </a:pathLst>
          </a:custGeom>
          <a:solidFill>
            <a:srgbClr val="C6C6C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2400" dirty="0">
              <a:latin typeface="Lato" panose="020F0502020204030203" pitchFamily="34" charset="0"/>
            </a:endParaRPr>
          </a:p>
        </p:txBody>
      </p:sp>
      <p:sp>
        <p:nvSpPr>
          <p:cNvPr id="57" name="Freeform: Shape 289">
            <a:extLst>
              <a:ext uri="{FF2B5EF4-FFF2-40B4-BE49-F238E27FC236}">
                <a16:creationId xmlns:a16="http://schemas.microsoft.com/office/drawing/2014/main" id="{3C4AED40-6693-409A-9006-4984CF80A344}"/>
              </a:ext>
            </a:extLst>
          </p:cNvPr>
          <p:cNvSpPr/>
          <p:nvPr/>
        </p:nvSpPr>
        <p:spPr>
          <a:xfrm>
            <a:off x="1092053" y="4992831"/>
            <a:ext cx="265525" cy="257537"/>
          </a:xfrm>
          <a:custGeom>
            <a:avLst/>
            <a:gdLst>
              <a:gd name="connsiteX0" fmla="*/ 7663 w 199144"/>
              <a:gd name="connsiteY0" fmla="*/ 193154 h 193153"/>
              <a:gd name="connsiteX1" fmla="*/ 0 w 199144"/>
              <a:gd name="connsiteY1" fmla="*/ 185491 h 193153"/>
              <a:gd name="connsiteX2" fmla="*/ 7663 w 199144"/>
              <a:gd name="connsiteY2" fmla="*/ 177828 h 193153"/>
              <a:gd name="connsiteX3" fmla="*/ 191481 w 199144"/>
              <a:gd name="connsiteY3" fmla="*/ 177828 h 193153"/>
              <a:gd name="connsiteX4" fmla="*/ 199144 w 199144"/>
              <a:gd name="connsiteY4" fmla="*/ 185491 h 193153"/>
              <a:gd name="connsiteX5" fmla="*/ 191481 w 199144"/>
              <a:gd name="connsiteY5" fmla="*/ 193154 h 193153"/>
              <a:gd name="connsiteX6" fmla="*/ 7663 w 199144"/>
              <a:gd name="connsiteY6" fmla="*/ 98289 h 193153"/>
              <a:gd name="connsiteX7" fmla="*/ 50763 w 199144"/>
              <a:gd name="connsiteY7" fmla="*/ 98289 h 193153"/>
              <a:gd name="connsiteX8" fmla="*/ 55334 w 199144"/>
              <a:gd name="connsiteY8" fmla="*/ 102880 h 193153"/>
              <a:gd name="connsiteX9" fmla="*/ 55334 w 199144"/>
              <a:gd name="connsiteY9" fmla="*/ 167642 h 193153"/>
              <a:gd name="connsiteX10" fmla="*/ 50763 w 199144"/>
              <a:gd name="connsiteY10" fmla="*/ 172253 h 193153"/>
              <a:gd name="connsiteX11" fmla="*/ 7663 w 199144"/>
              <a:gd name="connsiteY11" fmla="*/ 172253 h 193153"/>
              <a:gd name="connsiteX12" fmla="*/ 3091 w 199144"/>
              <a:gd name="connsiteY12" fmla="*/ 167642 h 193153"/>
              <a:gd name="connsiteX13" fmla="*/ 3091 w 199144"/>
              <a:gd name="connsiteY13" fmla="*/ 102880 h 193153"/>
              <a:gd name="connsiteX14" fmla="*/ 7663 w 199144"/>
              <a:gd name="connsiteY14" fmla="*/ 98289 h 193153"/>
              <a:gd name="connsiteX15" fmla="*/ 46112 w 199144"/>
              <a:gd name="connsiteY15" fmla="*/ 107487 h 193153"/>
              <a:gd name="connsiteX16" fmla="*/ 12234 w 199144"/>
              <a:gd name="connsiteY16" fmla="*/ 107487 h 193153"/>
              <a:gd name="connsiteX17" fmla="*/ 12234 w 199144"/>
              <a:gd name="connsiteY17" fmla="*/ 163056 h 193153"/>
              <a:gd name="connsiteX18" fmla="*/ 46112 w 199144"/>
              <a:gd name="connsiteY18" fmla="*/ 163056 h 193153"/>
              <a:gd name="connsiteX19" fmla="*/ 46112 w 199144"/>
              <a:gd name="connsiteY19" fmla="*/ 107487 h 193153"/>
              <a:gd name="connsiteX20" fmla="*/ 148382 w 199144"/>
              <a:gd name="connsiteY20" fmla="*/ 49142 h 193153"/>
              <a:gd name="connsiteX21" fmla="*/ 191481 w 199144"/>
              <a:gd name="connsiteY21" fmla="*/ 49142 h 193153"/>
              <a:gd name="connsiteX22" fmla="*/ 196053 w 199144"/>
              <a:gd name="connsiteY22" fmla="*/ 53714 h 193153"/>
              <a:gd name="connsiteX23" fmla="*/ 196053 w 199144"/>
              <a:gd name="connsiteY23" fmla="*/ 53733 h 193153"/>
              <a:gd name="connsiteX24" fmla="*/ 196053 w 199144"/>
              <a:gd name="connsiteY24" fmla="*/ 167642 h 193153"/>
              <a:gd name="connsiteX25" fmla="*/ 191481 w 199144"/>
              <a:gd name="connsiteY25" fmla="*/ 172253 h 193153"/>
              <a:gd name="connsiteX26" fmla="*/ 148382 w 199144"/>
              <a:gd name="connsiteY26" fmla="*/ 172253 h 193153"/>
              <a:gd name="connsiteX27" fmla="*/ 143810 w 199144"/>
              <a:gd name="connsiteY27" fmla="*/ 167642 h 193153"/>
              <a:gd name="connsiteX28" fmla="*/ 143810 w 199144"/>
              <a:gd name="connsiteY28" fmla="*/ 53733 h 193153"/>
              <a:gd name="connsiteX29" fmla="*/ 148379 w 199144"/>
              <a:gd name="connsiteY29" fmla="*/ 49142 h 193153"/>
              <a:gd name="connsiteX30" fmla="*/ 148383 w 199144"/>
              <a:gd name="connsiteY30" fmla="*/ 49142 h 193153"/>
              <a:gd name="connsiteX31" fmla="*/ 186830 w 199144"/>
              <a:gd name="connsiteY31" fmla="*/ 58324 h 193153"/>
              <a:gd name="connsiteX32" fmla="*/ 153030 w 199144"/>
              <a:gd name="connsiteY32" fmla="*/ 58324 h 193153"/>
              <a:gd name="connsiteX33" fmla="*/ 153030 w 199144"/>
              <a:gd name="connsiteY33" fmla="*/ 163056 h 193153"/>
              <a:gd name="connsiteX34" fmla="*/ 186830 w 199144"/>
              <a:gd name="connsiteY34" fmla="*/ 163056 h 193153"/>
              <a:gd name="connsiteX35" fmla="*/ 186830 w 199144"/>
              <a:gd name="connsiteY35" fmla="*/ 58324 h 193153"/>
              <a:gd name="connsiteX36" fmla="*/ 78025 w 199144"/>
              <a:gd name="connsiteY36" fmla="*/ 0 h 193153"/>
              <a:gd name="connsiteX37" fmla="*/ 121120 w 199144"/>
              <a:gd name="connsiteY37" fmla="*/ 0 h 193153"/>
              <a:gd name="connsiteX38" fmla="*/ 125692 w 199144"/>
              <a:gd name="connsiteY38" fmla="*/ 4587 h 193153"/>
              <a:gd name="connsiteX39" fmla="*/ 125692 w 199144"/>
              <a:gd name="connsiteY39" fmla="*/ 4591 h 193153"/>
              <a:gd name="connsiteX40" fmla="*/ 125692 w 199144"/>
              <a:gd name="connsiteY40" fmla="*/ 167642 h 193153"/>
              <a:gd name="connsiteX41" fmla="*/ 121121 w 199144"/>
              <a:gd name="connsiteY41" fmla="*/ 172253 h 193153"/>
              <a:gd name="connsiteX42" fmla="*/ 78025 w 199144"/>
              <a:gd name="connsiteY42" fmla="*/ 172253 h 193153"/>
              <a:gd name="connsiteX43" fmla="*/ 73453 w 199144"/>
              <a:gd name="connsiteY43" fmla="*/ 167642 h 193153"/>
              <a:gd name="connsiteX44" fmla="*/ 73453 w 199144"/>
              <a:gd name="connsiteY44" fmla="*/ 4591 h 193153"/>
              <a:gd name="connsiteX45" fmla="*/ 78019 w 199144"/>
              <a:gd name="connsiteY45" fmla="*/ 0 h 193153"/>
              <a:gd name="connsiteX46" fmla="*/ 78025 w 199144"/>
              <a:gd name="connsiteY46" fmla="*/ 0 h 193153"/>
              <a:gd name="connsiteX47" fmla="*/ 116473 w 199144"/>
              <a:gd name="connsiteY47" fmla="*/ 9177 h 193153"/>
              <a:gd name="connsiteX48" fmla="*/ 82591 w 199144"/>
              <a:gd name="connsiteY48" fmla="*/ 9177 h 193153"/>
              <a:gd name="connsiteX49" fmla="*/ 82591 w 199144"/>
              <a:gd name="connsiteY49" fmla="*/ 163056 h 193153"/>
              <a:gd name="connsiteX50" fmla="*/ 116473 w 199144"/>
              <a:gd name="connsiteY50" fmla="*/ 163056 h 193153"/>
              <a:gd name="connsiteX51" fmla="*/ 116473 w 199144"/>
              <a:gd name="connsiteY51" fmla="*/ 9182 h 193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99144" h="193153">
                <a:moveTo>
                  <a:pt x="7663" y="193154"/>
                </a:moveTo>
                <a:cubicBezTo>
                  <a:pt x="3431" y="193154"/>
                  <a:pt x="0" y="189723"/>
                  <a:pt x="0" y="185491"/>
                </a:cubicBezTo>
                <a:cubicBezTo>
                  <a:pt x="0" y="181259"/>
                  <a:pt x="3431" y="177828"/>
                  <a:pt x="7663" y="177828"/>
                </a:cubicBezTo>
                <a:lnTo>
                  <a:pt x="191481" y="177828"/>
                </a:lnTo>
                <a:cubicBezTo>
                  <a:pt x="195714" y="177828"/>
                  <a:pt x="199144" y="181259"/>
                  <a:pt x="199144" y="185491"/>
                </a:cubicBezTo>
                <a:cubicBezTo>
                  <a:pt x="199144" y="189723"/>
                  <a:pt x="195714" y="193154"/>
                  <a:pt x="191481" y="193154"/>
                </a:cubicBezTo>
                <a:close/>
                <a:moveTo>
                  <a:pt x="7663" y="98289"/>
                </a:moveTo>
                <a:lnTo>
                  <a:pt x="50763" y="98289"/>
                </a:lnTo>
                <a:cubicBezTo>
                  <a:pt x="53287" y="98307"/>
                  <a:pt x="55327" y="100355"/>
                  <a:pt x="55334" y="102880"/>
                </a:cubicBezTo>
                <a:lnTo>
                  <a:pt x="55334" y="167642"/>
                </a:lnTo>
                <a:cubicBezTo>
                  <a:pt x="55336" y="170174"/>
                  <a:pt x="53294" y="172233"/>
                  <a:pt x="50763" y="172253"/>
                </a:cubicBezTo>
                <a:lnTo>
                  <a:pt x="7663" y="172253"/>
                </a:lnTo>
                <a:cubicBezTo>
                  <a:pt x="5131" y="172233"/>
                  <a:pt x="3090" y="170174"/>
                  <a:pt x="3091" y="167642"/>
                </a:cubicBezTo>
                <a:lnTo>
                  <a:pt x="3091" y="102880"/>
                </a:lnTo>
                <a:cubicBezTo>
                  <a:pt x="3098" y="100355"/>
                  <a:pt x="5138" y="98307"/>
                  <a:pt x="7663" y="98289"/>
                </a:cubicBezTo>
                <a:close/>
                <a:moveTo>
                  <a:pt x="46112" y="107487"/>
                </a:moveTo>
                <a:lnTo>
                  <a:pt x="12234" y="107487"/>
                </a:lnTo>
                <a:lnTo>
                  <a:pt x="12234" y="163056"/>
                </a:lnTo>
                <a:lnTo>
                  <a:pt x="46112" y="163056"/>
                </a:lnTo>
                <a:lnTo>
                  <a:pt x="46112" y="107487"/>
                </a:lnTo>
                <a:close/>
                <a:moveTo>
                  <a:pt x="148382" y="49142"/>
                </a:moveTo>
                <a:lnTo>
                  <a:pt x="191481" y="49142"/>
                </a:lnTo>
                <a:cubicBezTo>
                  <a:pt x="194006" y="49142"/>
                  <a:pt x="196053" y="51189"/>
                  <a:pt x="196053" y="53714"/>
                </a:cubicBezTo>
                <a:cubicBezTo>
                  <a:pt x="196053" y="53721"/>
                  <a:pt x="196053" y="53727"/>
                  <a:pt x="196053" y="53733"/>
                </a:cubicBezTo>
                <a:lnTo>
                  <a:pt x="196053" y="167642"/>
                </a:lnTo>
                <a:cubicBezTo>
                  <a:pt x="196056" y="170174"/>
                  <a:pt x="194014" y="172234"/>
                  <a:pt x="191481" y="172253"/>
                </a:cubicBezTo>
                <a:lnTo>
                  <a:pt x="148382" y="172253"/>
                </a:lnTo>
                <a:cubicBezTo>
                  <a:pt x="145850" y="172233"/>
                  <a:pt x="143809" y="170174"/>
                  <a:pt x="143810" y="167642"/>
                </a:cubicBezTo>
                <a:lnTo>
                  <a:pt x="143810" y="53733"/>
                </a:lnTo>
                <a:cubicBezTo>
                  <a:pt x="143804" y="51204"/>
                  <a:pt x="145849" y="49149"/>
                  <a:pt x="148379" y="49142"/>
                </a:cubicBezTo>
                <a:cubicBezTo>
                  <a:pt x="148380" y="49142"/>
                  <a:pt x="148381" y="49142"/>
                  <a:pt x="148383" y="49142"/>
                </a:cubicBezTo>
                <a:close/>
                <a:moveTo>
                  <a:pt x="186830" y="58324"/>
                </a:moveTo>
                <a:lnTo>
                  <a:pt x="153030" y="58324"/>
                </a:lnTo>
                <a:lnTo>
                  <a:pt x="153030" y="163056"/>
                </a:lnTo>
                <a:lnTo>
                  <a:pt x="186830" y="163056"/>
                </a:lnTo>
                <a:lnTo>
                  <a:pt x="186830" y="58324"/>
                </a:lnTo>
                <a:close/>
                <a:moveTo>
                  <a:pt x="78025" y="0"/>
                </a:moveTo>
                <a:lnTo>
                  <a:pt x="121120" y="0"/>
                </a:lnTo>
                <a:cubicBezTo>
                  <a:pt x="123649" y="4"/>
                  <a:pt x="125696" y="2058"/>
                  <a:pt x="125692" y="4587"/>
                </a:cubicBezTo>
                <a:cubicBezTo>
                  <a:pt x="125692" y="4588"/>
                  <a:pt x="125692" y="4590"/>
                  <a:pt x="125692" y="4591"/>
                </a:cubicBezTo>
                <a:lnTo>
                  <a:pt x="125692" y="167642"/>
                </a:lnTo>
                <a:cubicBezTo>
                  <a:pt x="125693" y="170174"/>
                  <a:pt x="123652" y="172233"/>
                  <a:pt x="121121" y="172253"/>
                </a:cubicBezTo>
                <a:lnTo>
                  <a:pt x="78025" y="172253"/>
                </a:lnTo>
                <a:cubicBezTo>
                  <a:pt x="75493" y="172233"/>
                  <a:pt x="73452" y="170174"/>
                  <a:pt x="73453" y="167642"/>
                </a:cubicBezTo>
                <a:lnTo>
                  <a:pt x="73453" y="4591"/>
                </a:lnTo>
                <a:cubicBezTo>
                  <a:pt x="73446" y="2062"/>
                  <a:pt x="75491" y="7"/>
                  <a:pt x="78019" y="0"/>
                </a:cubicBezTo>
                <a:cubicBezTo>
                  <a:pt x="78021" y="0"/>
                  <a:pt x="78023" y="0"/>
                  <a:pt x="78025" y="0"/>
                </a:cubicBezTo>
                <a:close/>
                <a:moveTo>
                  <a:pt x="116473" y="9177"/>
                </a:moveTo>
                <a:lnTo>
                  <a:pt x="82591" y="9177"/>
                </a:lnTo>
                <a:lnTo>
                  <a:pt x="82591" y="163056"/>
                </a:lnTo>
                <a:lnTo>
                  <a:pt x="116473" y="163056"/>
                </a:lnTo>
                <a:lnTo>
                  <a:pt x="116473" y="9182"/>
                </a:lnTo>
                <a:close/>
              </a:path>
            </a:pathLst>
          </a:custGeom>
          <a:solidFill>
            <a:srgbClr val="BFBFB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2400" dirty="0">
              <a:latin typeface="Lato" panose="020F0502020204030203" pitchFamily="34" charset="0"/>
            </a:endParaRPr>
          </a:p>
        </p:txBody>
      </p:sp>
      <p:pic>
        <p:nvPicPr>
          <p:cNvPr id="75" name="Bildplatzhalter 16">
            <a:extLst>
              <a:ext uri="{FF2B5EF4-FFF2-40B4-BE49-F238E27FC236}">
                <a16:creationId xmlns:a16="http://schemas.microsoft.com/office/drawing/2014/main" id="{9C6B3E1D-62EC-4B2A-B316-2753DE28532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6" b="86"/>
          <a:stretch/>
        </p:blipFill>
        <p:spPr>
          <a:xfrm>
            <a:off x="9074045" y="-1"/>
            <a:ext cx="3117955" cy="6858001"/>
          </a:xfrm>
          <a:prstGeom prst="rect">
            <a:avLst/>
          </a:prstGeom>
        </p:spPr>
      </p:pic>
      <p:sp>
        <p:nvSpPr>
          <p:cNvPr id="76" name="Circle">
            <a:extLst>
              <a:ext uri="{FF2B5EF4-FFF2-40B4-BE49-F238E27FC236}">
                <a16:creationId xmlns:a16="http://schemas.microsoft.com/office/drawing/2014/main" id="{5AEAC4B2-9195-4CAA-BE05-9AD47B31D448}"/>
              </a:ext>
            </a:extLst>
          </p:cNvPr>
          <p:cNvSpPr/>
          <p:nvPr/>
        </p:nvSpPr>
        <p:spPr>
          <a:xfrm>
            <a:off x="9611948" y="3605317"/>
            <a:ext cx="1507544" cy="1507544"/>
          </a:xfrm>
          <a:prstGeom prst="ellipse">
            <a:avLst/>
          </a:prstGeom>
          <a:solidFill>
            <a:srgbClr val="3E4D6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>
              <a:lnSpc>
                <a:spcPct val="100000"/>
              </a:lnSpc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 dirty="0">
              <a:latin typeface="Lato" panose="020F0502020204030203" pitchFamily="34" charset="0"/>
            </a:endParaRPr>
          </a:p>
        </p:txBody>
      </p:sp>
      <p:sp>
        <p:nvSpPr>
          <p:cNvPr id="77" name="Circle">
            <a:extLst>
              <a:ext uri="{FF2B5EF4-FFF2-40B4-BE49-F238E27FC236}">
                <a16:creationId xmlns:a16="http://schemas.microsoft.com/office/drawing/2014/main" id="{7BD70D7E-DE21-4D84-965A-246FFEFB1899}"/>
              </a:ext>
            </a:extLst>
          </p:cNvPr>
          <p:cNvSpPr/>
          <p:nvPr/>
        </p:nvSpPr>
        <p:spPr>
          <a:xfrm>
            <a:off x="11331871" y="4809275"/>
            <a:ext cx="1091961" cy="1091961"/>
          </a:xfrm>
          <a:prstGeom prst="ellipse">
            <a:avLst/>
          </a:prstGeom>
          <a:solidFill>
            <a:srgbClr val="00A0D2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>
              <a:lnSpc>
                <a:spcPct val="100000"/>
              </a:lnSpc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 dirty="0">
              <a:latin typeface="Lato" panose="020F0502020204030203" pitchFamily="34" charset="0"/>
            </a:endParaRPr>
          </a:p>
        </p:txBody>
      </p:sp>
      <p:sp>
        <p:nvSpPr>
          <p:cNvPr id="78" name="Circle">
            <a:extLst>
              <a:ext uri="{FF2B5EF4-FFF2-40B4-BE49-F238E27FC236}">
                <a16:creationId xmlns:a16="http://schemas.microsoft.com/office/drawing/2014/main" id="{7076DC9F-1D3E-48F8-B7F3-26AB0D687364}"/>
              </a:ext>
            </a:extLst>
          </p:cNvPr>
          <p:cNvSpPr/>
          <p:nvPr/>
        </p:nvSpPr>
        <p:spPr>
          <a:xfrm>
            <a:off x="10794960" y="4942987"/>
            <a:ext cx="462323" cy="462323"/>
          </a:xfrm>
          <a:prstGeom prst="ellipse">
            <a:avLst/>
          </a:prstGeom>
          <a:solidFill>
            <a:srgbClr val="00A0D2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>
              <a:lnSpc>
                <a:spcPct val="100000"/>
              </a:lnSpc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 dirty="0">
              <a:latin typeface="Lato" panose="020F0502020204030203" pitchFamily="34" charset="0"/>
            </a:endParaRPr>
          </a:p>
        </p:txBody>
      </p:sp>
      <p:sp>
        <p:nvSpPr>
          <p:cNvPr id="79" name="Circle">
            <a:extLst>
              <a:ext uri="{FF2B5EF4-FFF2-40B4-BE49-F238E27FC236}">
                <a16:creationId xmlns:a16="http://schemas.microsoft.com/office/drawing/2014/main" id="{60445C56-D278-4EF7-AEC7-C15B87541341}"/>
              </a:ext>
            </a:extLst>
          </p:cNvPr>
          <p:cNvSpPr/>
          <p:nvPr/>
        </p:nvSpPr>
        <p:spPr>
          <a:xfrm>
            <a:off x="11234504" y="4246520"/>
            <a:ext cx="783940" cy="783940"/>
          </a:xfrm>
          <a:prstGeom prst="ellipse">
            <a:avLst/>
          </a:prstGeom>
          <a:solidFill>
            <a:srgbClr val="D56854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>
              <a:lnSpc>
                <a:spcPct val="100000"/>
              </a:lnSpc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 dirty="0">
              <a:latin typeface="Lato" panose="020F0502020204030203" pitchFamily="34" charset="0"/>
            </a:endParaRPr>
          </a:p>
        </p:txBody>
      </p:sp>
      <p:pic>
        <p:nvPicPr>
          <p:cNvPr id="80" name="Grafik 79" descr="Ein Bild, das Text enthält.&#10;&#10;Automatisch generierte Beschreibung">
            <a:extLst>
              <a:ext uri="{FF2B5EF4-FFF2-40B4-BE49-F238E27FC236}">
                <a16:creationId xmlns:a16="http://schemas.microsoft.com/office/drawing/2014/main" id="{3BE08A4E-4D0B-4E5C-AFB5-EE7B4910076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2820" y="495397"/>
            <a:ext cx="1179180" cy="396346"/>
          </a:xfrm>
          <a:prstGeom prst="rect">
            <a:avLst/>
          </a:prstGeom>
        </p:spPr>
      </p:pic>
      <p:pic>
        <p:nvPicPr>
          <p:cNvPr id="81" name="Picture 4" descr="A picture containing outdoor object, web&#10;&#10;Description automatically generated">
            <a:extLst>
              <a:ext uri="{FF2B5EF4-FFF2-40B4-BE49-F238E27FC236}">
                <a16:creationId xmlns:a16="http://schemas.microsoft.com/office/drawing/2014/main" id="{C9E38405-3B8F-4462-9B59-51D10E25B2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6414170" y="1174838"/>
            <a:ext cx="6952282" cy="4602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" name="Abgerundetes Rechteck 26">
            <a:extLst>
              <a:ext uri="{FF2B5EF4-FFF2-40B4-BE49-F238E27FC236}">
                <a16:creationId xmlns:a16="http://schemas.microsoft.com/office/drawing/2014/main" id="{7DC010D2-570E-42C8-9D1E-C83369E06202}"/>
              </a:ext>
            </a:extLst>
          </p:cNvPr>
          <p:cNvSpPr/>
          <p:nvPr/>
        </p:nvSpPr>
        <p:spPr>
          <a:xfrm>
            <a:off x="717532" y="5585471"/>
            <a:ext cx="5300845" cy="716145"/>
          </a:xfrm>
          <a:prstGeom prst="round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3" name="Abgerundetes Rechteck 28">
            <a:extLst>
              <a:ext uri="{FF2B5EF4-FFF2-40B4-BE49-F238E27FC236}">
                <a16:creationId xmlns:a16="http://schemas.microsoft.com/office/drawing/2014/main" id="{29D42E05-229E-4DC8-9082-ADC38788DAE7}"/>
              </a:ext>
            </a:extLst>
          </p:cNvPr>
          <p:cNvSpPr/>
          <p:nvPr/>
        </p:nvSpPr>
        <p:spPr>
          <a:xfrm>
            <a:off x="1766839" y="5668104"/>
            <a:ext cx="4192931" cy="550880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Knowhow, Experience, Skills, …</a:t>
            </a:r>
          </a:p>
        </p:txBody>
      </p:sp>
      <p:sp>
        <p:nvSpPr>
          <p:cNvPr id="84" name="Text Placeholder 9">
            <a:extLst>
              <a:ext uri="{FF2B5EF4-FFF2-40B4-BE49-F238E27FC236}">
                <a16:creationId xmlns:a16="http://schemas.microsoft.com/office/drawing/2014/main" id="{230E794D-8076-4D3A-B81A-BF643648BC14}"/>
              </a:ext>
            </a:extLst>
          </p:cNvPr>
          <p:cNvSpPr txBox="1">
            <a:spLocks/>
          </p:cNvSpPr>
          <p:nvPr/>
        </p:nvSpPr>
        <p:spPr>
          <a:xfrm>
            <a:off x="1015390" y="5712184"/>
            <a:ext cx="423396" cy="423396"/>
          </a:xfrm>
          <a:prstGeom prst="rect">
            <a:avLst/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DE" sz="1800" dirty="0">
              <a:latin typeface="Lato" panose="020F0502020204030203" pitchFamily="34" charset="0"/>
            </a:endParaRPr>
          </a:p>
        </p:txBody>
      </p:sp>
      <p:sp>
        <p:nvSpPr>
          <p:cNvPr id="86" name="Freeform: Shape 363">
            <a:extLst>
              <a:ext uri="{FF2B5EF4-FFF2-40B4-BE49-F238E27FC236}">
                <a16:creationId xmlns:a16="http://schemas.microsoft.com/office/drawing/2014/main" id="{E222A0ED-C7B2-43D5-8368-2CEA15556968}"/>
              </a:ext>
            </a:extLst>
          </p:cNvPr>
          <p:cNvSpPr>
            <a:spLocks noChangeAspect="1"/>
          </p:cNvSpPr>
          <p:nvPr/>
        </p:nvSpPr>
        <p:spPr>
          <a:xfrm>
            <a:off x="1098886" y="5823768"/>
            <a:ext cx="258121" cy="216000"/>
          </a:xfrm>
          <a:custGeom>
            <a:avLst/>
            <a:gdLst>
              <a:gd name="connsiteX0" fmla="*/ 44340 w 176020"/>
              <a:gd name="connsiteY0" fmla="*/ 97400 h 147296"/>
              <a:gd name="connsiteX1" fmla="*/ 32204 w 176020"/>
              <a:gd name="connsiteY1" fmla="*/ 98653 h 147296"/>
              <a:gd name="connsiteX2" fmla="*/ 32060 w 176020"/>
              <a:gd name="connsiteY2" fmla="*/ 98653 h 147296"/>
              <a:gd name="connsiteX3" fmla="*/ 15105 w 176020"/>
              <a:gd name="connsiteY3" fmla="*/ 94103 h 147296"/>
              <a:gd name="connsiteX4" fmla="*/ 2966 w 176020"/>
              <a:gd name="connsiteY4" fmla="*/ 80482 h 147296"/>
              <a:gd name="connsiteX5" fmla="*/ 37 w 176020"/>
              <a:gd name="connsiteY5" fmla="*/ 63703 h 147296"/>
              <a:gd name="connsiteX6" fmla="*/ 18173 w 176020"/>
              <a:gd name="connsiteY6" fmla="*/ 28337 h 147296"/>
              <a:gd name="connsiteX7" fmla="*/ 62539 w 176020"/>
              <a:gd name="connsiteY7" fmla="*/ 3555 h 147296"/>
              <a:gd name="connsiteX8" fmla="*/ 100067 w 176020"/>
              <a:gd name="connsiteY8" fmla="*/ 607 h 147296"/>
              <a:gd name="connsiteX9" fmla="*/ 137176 w 176020"/>
              <a:gd name="connsiteY9" fmla="*/ 10830 h 147296"/>
              <a:gd name="connsiteX10" fmla="*/ 159638 w 176020"/>
              <a:gd name="connsiteY10" fmla="*/ 28546 h 147296"/>
              <a:gd name="connsiteX11" fmla="*/ 171985 w 176020"/>
              <a:gd name="connsiteY11" fmla="*/ 53622 h 147296"/>
              <a:gd name="connsiteX12" fmla="*/ 174843 w 176020"/>
              <a:gd name="connsiteY12" fmla="*/ 83930 h 147296"/>
              <a:gd name="connsiteX13" fmla="*/ 174704 w 176020"/>
              <a:gd name="connsiteY13" fmla="*/ 84280 h 147296"/>
              <a:gd name="connsiteX14" fmla="*/ 160752 w 176020"/>
              <a:gd name="connsiteY14" fmla="*/ 96106 h 147296"/>
              <a:gd name="connsiteX15" fmla="*/ 147846 w 176020"/>
              <a:gd name="connsiteY15" fmla="*/ 119228 h 147296"/>
              <a:gd name="connsiteX16" fmla="*/ 135219 w 176020"/>
              <a:gd name="connsiteY16" fmla="*/ 126868 h 147296"/>
              <a:gd name="connsiteX17" fmla="*/ 120433 w 176020"/>
              <a:gd name="connsiteY17" fmla="*/ 129814 h 147296"/>
              <a:gd name="connsiteX18" fmla="*/ 112200 w 176020"/>
              <a:gd name="connsiteY18" fmla="*/ 128593 h 147296"/>
              <a:gd name="connsiteX19" fmla="*/ 119454 w 176020"/>
              <a:gd name="connsiteY19" fmla="*/ 141166 h 147296"/>
              <a:gd name="connsiteX20" fmla="*/ 118083 w 176020"/>
              <a:gd name="connsiteY20" fmla="*/ 146706 h 147296"/>
              <a:gd name="connsiteX21" fmla="*/ 112543 w 176020"/>
              <a:gd name="connsiteY21" fmla="*/ 145336 h 147296"/>
              <a:gd name="connsiteX22" fmla="*/ 112509 w 176020"/>
              <a:gd name="connsiteY22" fmla="*/ 145279 h 147296"/>
              <a:gd name="connsiteX23" fmla="*/ 112479 w 176020"/>
              <a:gd name="connsiteY23" fmla="*/ 145228 h 147296"/>
              <a:gd name="connsiteX24" fmla="*/ 95250 w 176020"/>
              <a:gd name="connsiteY24" fmla="*/ 115443 h 147296"/>
              <a:gd name="connsiteX25" fmla="*/ 93647 w 176020"/>
              <a:gd name="connsiteY25" fmla="*/ 112880 h 147296"/>
              <a:gd name="connsiteX26" fmla="*/ 84367 w 176020"/>
              <a:gd name="connsiteY26" fmla="*/ 117133 h 147296"/>
              <a:gd name="connsiteX27" fmla="*/ 83111 w 176020"/>
              <a:gd name="connsiteY27" fmla="*/ 117483 h 147296"/>
              <a:gd name="connsiteX28" fmla="*/ 96786 w 176020"/>
              <a:gd name="connsiteY28" fmla="*/ 141166 h 147296"/>
              <a:gd name="connsiteX29" fmla="*/ 95345 w 176020"/>
              <a:gd name="connsiteY29" fmla="*/ 146733 h 147296"/>
              <a:gd name="connsiteX30" fmla="*/ 89778 w 176020"/>
              <a:gd name="connsiteY30" fmla="*/ 145292 h 147296"/>
              <a:gd name="connsiteX31" fmla="*/ 89739 w 176020"/>
              <a:gd name="connsiteY31" fmla="*/ 145226 h 147296"/>
              <a:gd name="connsiteX32" fmla="*/ 74464 w 176020"/>
              <a:gd name="connsiteY32" fmla="*/ 118722 h 147296"/>
              <a:gd name="connsiteX33" fmla="*/ 71113 w 176020"/>
              <a:gd name="connsiteY33" fmla="*/ 118669 h 147296"/>
              <a:gd name="connsiteX34" fmla="*/ 64351 w 176020"/>
              <a:gd name="connsiteY34" fmla="*/ 117604 h 147296"/>
              <a:gd name="connsiteX35" fmla="*/ 49628 w 176020"/>
              <a:gd name="connsiteY35" fmla="*/ 108657 h 147296"/>
              <a:gd name="connsiteX36" fmla="*/ 44328 w 176020"/>
              <a:gd name="connsiteY36" fmla="*/ 97393 h 147296"/>
              <a:gd name="connsiteX37" fmla="*/ 122189 w 176020"/>
              <a:gd name="connsiteY37" fmla="*/ 64648 h 147296"/>
              <a:gd name="connsiteX38" fmla="*/ 122189 w 176020"/>
              <a:gd name="connsiteY38" fmla="*/ 64648 h 147296"/>
              <a:gd name="connsiteX39" fmla="*/ 126332 w 176020"/>
              <a:gd name="connsiteY39" fmla="*/ 60630 h 147296"/>
              <a:gd name="connsiteX40" fmla="*/ 130349 w 176020"/>
              <a:gd name="connsiteY40" fmla="*/ 64648 h 147296"/>
              <a:gd name="connsiteX41" fmla="*/ 132514 w 176020"/>
              <a:gd name="connsiteY41" fmla="*/ 75756 h 147296"/>
              <a:gd name="connsiteX42" fmla="*/ 138582 w 176020"/>
              <a:gd name="connsiteY42" fmla="*/ 84948 h 147296"/>
              <a:gd name="connsiteX43" fmla="*/ 147022 w 176020"/>
              <a:gd name="connsiteY43" fmla="*/ 84528 h 147296"/>
              <a:gd name="connsiteX44" fmla="*/ 151765 w 176020"/>
              <a:gd name="connsiteY44" fmla="*/ 84199 h 147296"/>
              <a:gd name="connsiteX45" fmla="*/ 153022 w 176020"/>
              <a:gd name="connsiteY45" fmla="*/ 84042 h 147296"/>
              <a:gd name="connsiteX46" fmla="*/ 162158 w 176020"/>
              <a:gd name="connsiteY46" fmla="*/ 79350 h 147296"/>
              <a:gd name="connsiteX47" fmla="*/ 162229 w 176020"/>
              <a:gd name="connsiteY47" fmla="*/ 79174 h 147296"/>
              <a:gd name="connsiteX48" fmla="*/ 159086 w 176020"/>
              <a:gd name="connsiteY48" fmla="*/ 57602 h 147296"/>
              <a:gd name="connsiteX49" fmla="*/ 159086 w 176020"/>
              <a:gd name="connsiteY49" fmla="*/ 57602 h 147296"/>
              <a:gd name="connsiteX50" fmla="*/ 159086 w 176020"/>
              <a:gd name="connsiteY50" fmla="*/ 57567 h 147296"/>
              <a:gd name="connsiteX51" fmla="*/ 149043 w 176020"/>
              <a:gd name="connsiteY51" fmla="*/ 36866 h 147296"/>
              <a:gd name="connsiteX52" fmla="*/ 131186 w 176020"/>
              <a:gd name="connsiteY52" fmla="*/ 22947 h 147296"/>
              <a:gd name="connsiteX53" fmla="*/ 98817 w 176020"/>
              <a:gd name="connsiteY53" fmla="*/ 14072 h 147296"/>
              <a:gd name="connsiteX54" fmla="*/ 85701 w 176020"/>
              <a:gd name="connsiteY54" fmla="*/ 13619 h 147296"/>
              <a:gd name="connsiteX55" fmla="*/ 76772 w 176020"/>
              <a:gd name="connsiteY55" fmla="*/ 19722 h 147296"/>
              <a:gd name="connsiteX56" fmla="*/ 68261 w 176020"/>
              <a:gd name="connsiteY56" fmla="*/ 40266 h 147296"/>
              <a:gd name="connsiteX57" fmla="*/ 64238 w 176020"/>
              <a:gd name="connsiteY57" fmla="*/ 44313 h 147296"/>
              <a:gd name="connsiteX58" fmla="*/ 64237 w 176020"/>
              <a:gd name="connsiteY58" fmla="*/ 44313 h 147296"/>
              <a:gd name="connsiteX59" fmla="*/ 64218 w 176020"/>
              <a:gd name="connsiteY59" fmla="*/ 44313 h 147296"/>
              <a:gd name="connsiteX60" fmla="*/ 60101 w 176020"/>
              <a:gd name="connsiteY60" fmla="*/ 40266 h 147296"/>
              <a:gd name="connsiteX61" fmla="*/ 69379 w 176020"/>
              <a:gd name="connsiteY61" fmla="*/ 15711 h 147296"/>
              <a:gd name="connsiteX62" fmla="*/ 66378 w 176020"/>
              <a:gd name="connsiteY62" fmla="*/ 16529 h 147296"/>
              <a:gd name="connsiteX63" fmla="*/ 34851 w 176020"/>
              <a:gd name="connsiteY63" fmla="*/ 32105 h 147296"/>
              <a:gd name="connsiteX64" fmla="*/ 32339 w 176020"/>
              <a:gd name="connsiteY64" fmla="*/ 40806 h 147296"/>
              <a:gd name="connsiteX65" fmla="*/ 33108 w 176020"/>
              <a:gd name="connsiteY65" fmla="*/ 52123 h 147296"/>
              <a:gd name="connsiteX66" fmla="*/ 30176 w 176020"/>
              <a:gd name="connsiteY66" fmla="*/ 57076 h 147296"/>
              <a:gd name="connsiteX67" fmla="*/ 25230 w 176020"/>
              <a:gd name="connsiteY67" fmla="*/ 54219 h 147296"/>
              <a:gd name="connsiteX68" fmla="*/ 25230 w 176020"/>
              <a:gd name="connsiteY68" fmla="*/ 54219 h 147296"/>
              <a:gd name="connsiteX69" fmla="*/ 25225 w 176020"/>
              <a:gd name="connsiteY69" fmla="*/ 54198 h 147296"/>
              <a:gd name="connsiteX70" fmla="*/ 24107 w 176020"/>
              <a:gd name="connsiteY70" fmla="*/ 41609 h 147296"/>
              <a:gd name="connsiteX71" fmla="*/ 13575 w 176020"/>
              <a:gd name="connsiteY71" fmla="*/ 64088 h 147296"/>
              <a:gd name="connsiteX72" fmla="*/ 15389 w 176020"/>
              <a:gd name="connsiteY72" fmla="*/ 75093 h 147296"/>
              <a:gd name="connsiteX73" fmla="*/ 21946 w 176020"/>
              <a:gd name="connsiteY73" fmla="*/ 82401 h 147296"/>
              <a:gd name="connsiteX74" fmla="*/ 32548 w 176020"/>
              <a:gd name="connsiteY74" fmla="*/ 85154 h 147296"/>
              <a:gd name="connsiteX75" fmla="*/ 47548 w 176020"/>
              <a:gd name="connsiteY75" fmla="*/ 82243 h 147296"/>
              <a:gd name="connsiteX76" fmla="*/ 42941 w 176020"/>
              <a:gd name="connsiteY76" fmla="*/ 74168 h 147296"/>
              <a:gd name="connsiteX77" fmla="*/ 40084 w 176020"/>
              <a:gd name="connsiteY77" fmla="*/ 59976 h 147296"/>
              <a:gd name="connsiteX78" fmla="*/ 44164 w 176020"/>
              <a:gd name="connsiteY78" fmla="*/ 55895 h 147296"/>
              <a:gd name="connsiteX79" fmla="*/ 48245 w 176020"/>
              <a:gd name="connsiteY79" fmla="*/ 59976 h 147296"/>
              <a:gd name="connsiteX80" fmla="*/ 50405 w 176020"/>
              <a:gd name="connsiteY80" fmla="*/ 71051 h 147296"/>
              <a:gd name="connsiteX81" fmla="*/ 55080 w 176020"/>
              <a:gd name="connsiteY81" fmla="*/ 78690 h 147296"/>
              <a:gd name="connsiteX82" fmla="*/ 88842 w 176020"/>
              <a:gd name="connsiteY82" fmla="*/ 65904 h 147296"/>
              <a:gd name="connsiteX83" fmla="*/ 109005 w 176020"/>
              <a:gd name="connsiteY83" fmla="*/ 52322 h 147296"/>
              <a:gd name="connsiteX84" fmla="*/ 111723 w 176020"/>
              <a:gd name="connsiteY84" fmla="*/ 47265 h 147296"/>
              <a:gd name="connsiteX85" fmla="*/ 116816 w 176020"/>
              <a:gd name="connsiteY85" fmla="*/ 50000 h 147296"/>
              <a:gd name="connsiteX86" fmla="*/ 88704 w 176020"/>
              <a:gd name="connsiteY86" fmla="*/ 73998 h 147296"/>
              <a:gd name="connsiteX87" fmla="*/ 58010 w 176020"/>
              <a:gd name="connsiteY87" fmla="*/ 89523 h 147296"/>
              <a:gd name="connsiteX88" fmla="*/ 58010 w 176020"/>
              <a:gd name="connsiteY88" fmla="*/ 89560 h 147296"/>
              <a:gd name="connsiteX89" fmla="*/ 57942 w 176020"/>
              <a:gd name="connsiteY89" fmla="*/ 89628 h 147296"/>
              <a:gd name="connsiteX90" fmla="*/ 57942 w 176020"/>
              <a:gd name="connsiteY90" fmla="*/ 89628 h 147296"/>
              <a:gd name="connsiteX91" fmla="*/ 57942 w 176020"/>
              <a:gd name="connsiteY91" fmla="*/ 89762 h 147296"/>
              <a:gd name="connsiteX92" fmla="*/ 57942 w 176020"/>
              <a:gd name="connsiteY92" fmla="*/ 89762 h 147296"/>
              <a:gd name="connsiteX93" fmla="*/ 57871 w 176020"/>
              <a:gd name="connsiteY93" fmla="*/ 90041 h 147296"/>
              <a:gd name="connsiteX94" fmla="*/ 57871 w 176020"/>
              <a:gd name="connsiteY94" fmla="*/ 90147 h 147296"/>
              <a:gd name="connsiteX95" fmla="*/ 57524 w 176020"/>
              <a:gd name="connsiteY95" fmla="*/ 92448 h 147296"/>
              <a:gd name="connsiteX96" fmla="*/ 59963 w 176020"/>
              <a:gd name="connsiteY96" fmla="*/ 99859 h 147296"/>
              <a:gd name="connsiteX97" fmla="*/ 67845 w 176020"/>
              <a:gd name="connsiteY97" fmla="*/ 104517 h 147296"/>
              <a:gd name="connsiteX98" fmla="*/ 71892 w 176020"/>
              <a:gd name="connsiteY98" fmla="*/ 105184 h 147296"/>
              <a:gd name="connsiteX99" fmla="*/ 80472 w 176020"/>
              <a:gd name="connsiteY99" fmla="*/ 104168 h 147296"/>
              <a:gd name="connsiteX100" fmla="*/ 87797 w 176020"/>
              <a:gd name="connsiteY100" fmla="*/ 100437 h 147296"/>
              <a:gd name="connsiteX101" fmla="*/ 116956 w 176020"/>
              <a:gd name="connsiteY101" fmla="*/ 87780 h 147296"/>
              <a:gd name="connsiteX102" fmla="*/ 128814 w 176020"/>
              <a:gd name="connsiteY102" fmla="*/ 85826 h 147296"/>
              <a:gd name="connsiteX103" fmla="*/ 125049 w 176020"/>
              <a:gd name="connsiteY103" fmla="*/ 78864 h 147296"/>
              <a:gd name="connsiteX104" fmla="*/ 122191 w 176020"/>
              <a:gd name="connsiteY104" fmla="*/ 64653 h 147296"/>
              <a:gd name="connsiteX105" fmla="*/ 101402 w 176020"/>
              <a:gd name="connsiteY105" fmla="*/ 37564 h 147296"/>
              <a:gd name="connsiteX106" fmla="*/ 101402 w 176020"/>
              <a:gd name="connsiteY106" fmla="*/ 37564 h 147296"/>
              <a:gd name="connsiteX107" fmla="*/ 136965 w 176020"/>
              <a:gd name="connsiteY107" fmla="*/ 58063 h 147296"/>
              <a:gd name="connsiteX108" fmla="*/ 136978 w 176020"/>
              <a:gd name="connsiteY108" fmla="*/ 58108 h 147296"/>
              <a:gd name="connsiteX109" fmla="*/ 141931 w 176020"/>
              <a:gd name="connsiteY109" fmla="*/ 60986 h 147296"/>
              <a:gd name="connsiteX110" fmla="*/ 144863 w 176020"/>
              <a:gd name="connsiteY110" fmla="*/ 55997 h 147296"/>
              <a:gd name="connsiteX111" fmla="*/ 99312 w 176020"/>
              <a:gd name="connsiteY111" fmla="*/ 29718 h 147296"/>
              <a:gd name="connsiteX112" fmla="*/ 96436 w 176020"/>
              <a:gd name="connsiteY112" fmla="*/ 34689 h 147296"/>
              <a:gd name="connsiteX113" fmla="*/ 101407 w 176020"/>
              <a:gd name="connsiteY113" fmla="*/ 37564 h 147296"/>
              <a:gd name="connsiteX114" fmla="*/ 146953 w 176020"/>
              <a:gd name="connsiteY114" fmla="*/ 98078 h 147296"/>
              <a:gd name="connsiteX115" fmla="*/ 146953 w 176020"/>
              <a:gd name="connsiteY115" fmla="*/ 98078 h 147296"/>
              <a:gd name="connsiteX116" fmla="*/ 119817 w 176020"/>
              <a:gd name="connsiteY116" fmla="*/ 101025 h 147296"/>
              <a:gd name="connsiteX117" fmla="*/ 105166 w 176020"/>
              <a:gd name="connsiteY117" fmla="*/ 105735 h 147296"/>
              <a:gd name="connsiteX118" fmla="*/ 120513 w 176020"/>
              <a:gd name="connsiteY118" fmla="*/ 116308 h 147296"/>
              <a:gd name="connsiteX119" fmla="*/ 130143 w 176020"/>
              <a:gd name="connsiteY119" fmla="*/ 114336 h 147296"/>
              <a:gd name="connsiteX120" fmla="*/ 139071 w 176020"/>
              <a:gd name="connsiteY120" fmla="*/ 108914 h 147296"/>
              <a:gd name="connsiteX121" fmla="*/ 146954 w 176020"/>
              <a:gd name="connsiteY121" fmla="*/ 98082 h 147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76020" h="147296">
                <a:moveTo>
                  <a:pt x="44340" y="97400"/>
                </a:moveTo>
                <a:cubicBezTo>
                  <a:pt x="40364" y="98328"/>
                  <a:pt x="36286" y="98749"/>
                  <a:pt x="32204" y="98653"/>
                </a:cubicBezTo>
                <a:lnTo>
                  <a:pt x="32060" y="98653"/>
                </a:lnTo>
                <a:cubicBezTo>
                  <a:pt x="26120" y="98556"/>
                  <a:pt x="20296" y="96993"/>
                  <a:pt x="15105" y="94103"/>
                </a:cubicBezTo>
                <a:cubicBezTo>
                  <a:pt x="9717" y="90964"/>
                  <a:pt x="5466" y="86194"/>
                  <a:pt x="2966" y="80482"/>
                </a:cubicBezTo>
                <a:cubicBezTo>
                  <a:pt x="789" y="75166"/>
                  <a:pt x="-210" y="69442"/>
                  <a:pt x="37" y="63703"/>
                </a:cubicBezTo>
                <a:cubicBezTo>
                  <a:pt x="1093" y="49959"/>
                  <a:pt x="7628" y="37215"/>
                  <a:pt x="18173" y="28337"/>
                </a:cubicBezTo>
                <a:cubicBezTo>
                  <a:pt x="30996" y="16965"/>
                  <a:pt x="46132" y="8509"/>
                  <a:pt x="62539" y="3555"/>
                </a:cubicBezTo>
                <a:cubicBezTo>
                  <a:pt x="74751" y="218"/>
                  <a:pt x="87484" y="-782"/>
                  <a:pt x="100067" y="607"/>
                </a:cubicBezTo>
                <a:cubicBezTo>
                  <a:pt x="112945" y="1789"/>
                  <a:pt x="125510" y="5250"/>
                  <a:pt x="137176" y="10830"/>
                </a:cubicBezTo>
                <a:cubicBezTo>
                  <a:pt x="145943" y="14902"/>
                  <a:pt x="153635" y="20969"/>
                  <a:pt x="159638" y="28546"/>
                </a:cubicBezTo>
                <a:cubicBezTo>
                  <a:pt x="165284" y="36060"/>
                  <a:pt x="169472" y="44565"/>
                  <a:pt x="171985" y="53622"/>
                </a:cubicBezTo>
                <a:cubicBezTo>
                  <a:pt x="176098" y="63174"/>
                  <a:pt x="177098" y="73778"/>
                  <a:pt x="174843" y="83930"/>
                </a:cubicBezTo>
                <a:lnTo>
                  <a:pt x="174704" y="84280"/>
                </a:lnTo>
                <a:cubicBezTo>
                  <a:pt x="172277" y="90273"/>
                  <a:pt x="167062" y="94693"/>
                  <a:pt x="160752" y="96106"/>
                </a:cubicBezTo>
                <a:cubicBezTo>
                  <a:pt x="159774" y="105248"/>
                  <a:pt x="155114" y="113597"/>
                  <a:pt x="147846" y="119228"/>
                </a:cubicBezTo>
                <a:cubicBezTo>
                  <a:pt x="144066" y="122425"/>
                  <a:pt x="139805" y="125003"/>
                  <a:pt x="135219" y="126868"/>
                </a:cubicBezTo>
                <a:cubicBezTo>
                  <a:pt x="130535" y="128822"/>
                  <a:pt x="125508" y="129823"/>
                  <a:pt x="120433" y="129814"/>
                </a:cubicBezTo>
                <a:cubicBezTo>
                  <a:pt x="117645" y="129800"/>
                  <a:pt x="114873" y="129389"/>
                  <a:pt x="112200" y="128593"/>
                </a:cubicBezTo>
                <a:lnTo>
                  <a:pt x="119454" y="141166"/>
                </a:lnTo>
                <a:cubicBezTo>
                  <a:pt x="120605" y="143074"/>
                  <a:pt x="119992" y="145555"/>
                  <a:pt x="118083" y="146706"/>
                </a:cubicBezTo>
                <a:cubicBezTo>
                  <a:pt x="116175" y="147858"/>
                  <a:pt x="113694" y="147245"/>
                  <a:pt x="112543" y="145336"/>
                </a:cubicBezTo>
                <a:cubicBezTo>
                  <a:pt x="112531" y="145317"/>
                  <a:pt x="112520" y="145298"/>
                  <a:pt x="112509" y="145279"/>
                </a:cubicBezTo>
                <a:lnTo>
                  <a:pt x="112479" y="145228"/>
                </a:lnTo>
                <a:lnTo>
                  <a:pt x="95250" y="115443"/>
                </a:lnTo>
                <a:cubicBezTo>
                  <a:pt x="94692" y="114622"/>
                  <a:pt x="94131" y="113768"/>
                  <a:pt x="93647" y="112880"/>
                </a:cubicBezTo>
                <a:cubicBezTo>
                  <a:pt x="90762" y="114714"/>
                  <a:pt x="87640" y="116145"/>
                  <a:pt x="84367" y="117133"/>
                </a:cubicBezTo>
                <a:lnTo>
                  <a:pt x="83111" y="117483"/>
                </a:lnTo>
                <a:lnTo>
                  <a:pt x="96786" y="141166"/>
                </a:lnTo>
                <a:cubicBezTo>
                  <a:pt x="97925" y="143101"/>
                  <a:pt x="97280" y="145594"/>
                  <a:pt x="95345" y="146733"/>
                </a:cubicBezTo>
                <a:cubicBezTo>
                  <a:pt x="93410" y="147873"/>
                  <a:pt x="90917" y="147228"/>
                  <a:pt x="89778" y="145292"/>
                </a:cubicBezTo>
                <a:lnTo>
                  <a:pt x="89739" y="145226"/>
                </a:lnTo>
                <a:lnTo>
                  <a:pt x="74464" y="118722"/>
                </a:lnTo>
                <a:cubicBezTo>
                  <a:pt x="73346" y="118755"/>
                  <a:pt x="72232" y="118737"/>
                  <a:pt x="71113" y="118669"/>
                </a:cubicBezTo>
                <a:cubicBezTo>
                  <a:pt x="68828" y="118547"/>
                  <a:pt x="66562" y="118190"/>
                  <a:pt x="64351" y="117604"/>
                </a:cubicBezTo>
                <a:cubicBezTo>
                  <a:pt x="58656" y="116169"/>
                  <a:pt x="53525" y="113051"/>
                  <a:pt x="49628" y="108657"/>
                </a:cubicBezTo>
                <a:cubicBezTo>
                  <a:pt x="46859" y="105461"/>
                  <a:pt x="45025" y="101564"/>
                  <a:pt x="44328" y="97393"/>
                </a:cubicBezTo>
                <a:close/>
                <a:moveTo>
                  <a:pt x="122189" y="64648"/>
                </a:moveTo>
                <a:lnTo>
                  <a:pt x="122189" y="64648"/>
                </a:lnTo>
                <a:cubicBezTo>
                  <a:pt x="122224" y="62394"/>
                  <a:pt x="124078" y="60596"/>
                  <a:pt x="126332" y="60630"/>
                </a:cubicBezTo>
                <a:cubicBezTo>
                  <a:pt x="128536" y="60664"/>
                  <a:pt x="130316" y="62443"/>
                  <a:pt x="130349" y="64648"/>
                </a:cubicBezTo>
                <a:cubicBezTo>
                  <a:pt x="130337" y="68456"/>
                  <a:pt x="131073" y="72231"/>
                  <a:pt x="132514" y="75756"/>
                </a:cubicBezTo>
                <a:cubicBezTo>
                  <a:pt x="133972" y="79157"/>
                  <a:pt x="136027" y="82271"/>
                  <a:pt x="138582" y="84948"/>
                </a:cubicBezTo>
                <a:cubicBezTo>
                  <a:pt x="141439" y="84774"/>
                  <a:pt x="144232" y="84635"/>
                  <a:pt x="147022" y="84528"/>
                </a:cubicBezTo>
                <a:cubicBezTo>
                  <a:pt x="148764" y="84460"/>
                  <a:pt x="150372" y="84356"/>
                  <a:pt x="151765" y="84199"/>
                </a:cubicBezTo>
                <a:cubicBezTo>
                  <a:pt x="152176" y="84094"/>
                  <a:pt x="152598" y="84042"/>
                  <a:pt x="153022" y="84042"/>
                </a:cubicBezTo>
                <a:cubicBezTo>
                  <a:pt x="158394" y="83256"/>
                  <a:pt x="161183" y="81685"/>
                  <a:pt x="162158" y="79350"/>
                </a:cubicBezTo>
                <a:lnTo>
                  <a:pt x="162229" y="79174"/>
                </a:lnTo>
                <a:cubicBezTo>
                  <a:pt x="163102" y="71832"/>
                  <a:pt x="162018" y="64390"/>
                  <a:pt x="159086" y="57602"/>
                </a:cubicBezTo>
                <a:lnTo>
                  <a:pt x="159086" y="57602"/>
                </a:lnTo>
                <a:lnTo>
                  <a:pt x="159086" y="57567"/>
                </a:lnTo>
                <a:cubicBezTo>
                  <a:pt x="156986" y="50128"/>
                  <a:pt x="153586" y="43120"/>
                  <a:pt x="149043" y="36866"/>
                </a:cubicBezTo>
                <a:cubicBezTo>
                  <a:pt x="144238" y="30917"/>
                  <a:pt x="138128" y="26155"/>
                  <a:pt x="131186" y="22947"/>
                </a:cubicBezTo>
                <a:cubicBezTo>
                  <a:pt x="121006" y="18097"/>
                  <a:pt x="110047" y="15092"/>
                  <a:pt x="98817" y="14072"/>
                </a:cubicBezTo>
                <a:cubicBezTo>
                  <a:pt x="94459" y="13645"/>
                  <a:pt x="90078" y="13494"/>
                  <a:pt x="85701" y="13619"/>
                </a:cubicBezTo>
                <a:cubicBezTo>
                  <a:pt x="82376" y="15090"/>
                  <a:pt x="79350" y="17158"/>
                  <a:pt x="76772" y="19722"/>
                </a:cubicBezTo>
                <a:cubicBezTo>
                  <a:pt x="71323" y="25171"/>
                  <a:pt x="68262" y="32560"/>
                  <a:pt x="68261" y="40266"/>
                </a:cubicBezTo>
                <a:cubicBezTo>
                  <a:pt x="68267" y="42494"/>
                  <a:pt x="66467" y="44306"/>
                  <a:pt x="64238" y="44313"/>
                </a:cubicBezTo>
                <a:cubicBezTo>
                  <a:pt x="64238" y="44313"/>
                  <a:pt x="64238" y="44313"/>
                  <a:pt x="64237" y="44313"/>
                </a:cubicBezTo>
                <a:lnTo>
                  <a:pt x="64218" y="44313"/>
                </a:lnTo>
                <a:cubicBezTo>
                  <a:pt x="61966" y="44325"/>
                  <a:pt x="60127" y="42517"/>
                  <a:pt x="60101" y="40266"/>
                </a:cubicBezTo>
                <a:cubicBezTo>
                  <a:pt x="60123" y="31229"/>
                  <a:pt x="63419" y="22505"/>
                  <a:pt x="69379" y="15711"/>
                </a:cubicBezTo>
                <a:cubicBezTo>
                  <a:pt x="68331" y="15972"/>
                  <a:pt x="67354" y="16251"/>
                  <a:pt x="66378" y="16529"/>
                </a:cubicBezTo>
                <a:cubicBezTo>
                  <a:pt x="55095" y="19979"/>
                  <a:pt x="44447" y="25239"/>
                  <a:pt x="34851" y="32105"/>
                </a:cubicBezTo>
                <a:cubicBezTo>
                  <a:pt x="33561" y="34855"/>
                  <a:pt x="32713" y="37791"/>
                  <a:pt x="32339" y="40806"/>
                </a:cubicBezTo>
                <a:cubicBezTo>
                  <a:pt x="31834" y="44592"/>
                  <a:pt x="32096" y="48441"/>
                  <a:pt x="33108" y="52123"/>
                </a:cubicBezTo>
                <a:cubicBezTo>
                  <a:pt x="33645" y="54298"/>
                  <a:pt x="32341" y="56502"/>
                  <a:pt x="30176" y="57076"/>
                </a:cubicBezTo>
                <a:cubicBezTo>
                  <a:pt x="28021" y="57653"/>
                  <a:pt x="25807" y="56374"/>
                  <a:pt x="25230" y="54219"/>
                </a:cubicBezTo>
                <a:cubicBezTo>
                  <a:pt x="25230" y="54219"/>
                  <a:pt x="25230" y="54219"/>
                  <a:pt x="25230" y="54219"/>
                </a:cubicBezTo>
                <a:lnTo>
                  <a:pt x="25225" y="54198"/>
                </a:lnTo>
                <a:cubicBezTo>
                  <a:pt x="24129" y="50097"/>
                  <a:pt x="23751" y="45838"/>
                  <a:pt x="24107" y="41609"/>
                </a:cubicBezTo>
                <a:cubicBezTo>
                  <a:pt x="17982" y="47574"/>
                  <a:pt x="14238" y="55564"/>
                  <a:pt x="13575" y="64088"/>
                </a:cubicBezTo>
                <a:cubicBezTo>
                  <a:pt x="13370" y="67845"/>
                  <a:pt x="13989" y="71601"/>
                  <a:pt x="15389" y="75093"/>
                </a:cubicBezTo>
                <a:cubicBezTo>
                  <a:pt x="16748" y="78160"/>
                  <a:pt x="19044" y="80718"/>
                  <a:pt x="21946" y="82401"/>
                </a:cubicBezTo>
                <a:cubicBezTo>
                  <a:pt x="25197" y="84183"/>
                  <a:pt x="28840" y="85130"/>
                  <a:pt x="32548" y="85154"/>
                </a:cubicBezTo>
                <a:cubicBezTo>
                  <a:pt x="37693" y="85207"/>
                  <a:pt x="42796" y="84217"/>
                  <a:pt x="47548" y="82243"/>
                </a:cubicBezTo>
                <a:cubicBezTo>
                  <a:pt x="45667" y="79764"/>
                  <a:pt x="44118" y="77049"/>
                  <a:pt x="42941" y="74168"/>
                </a:cubicBezTo>
                <a:cubicBezTo>
                  <a:pt x="41069" y="69670"/>
                  <a:pt x="40098" y="64848"/>
                  <a:pt x="40084" y="59976"/>
                </a:cubicBezTo>
                <a:cubicBezTo>
                  <a:pt x="40084" y="57722"/>
                  <a:pt x="41911" y="55895"/>
                  <a:pt x="44164" y="55895"/>
                </a:cubicBezTo>
                <a:cubicBezTo>
                  <a:pt x="46418" y="55895"/>
                  <a:pt x="48245" y="57722"/>
                  <a:pt x="48245" y="59976"/>
                </a:cubicBezTo>
                <a:cubicBezTo>
                  <a:pt x="48235" y="63773"/>
                  <a:pt x="48968" y="67536"/>
                  <a:pt x="50405" y="71051"/>
                </a:cubicBezTo>
                <a:cubicBezTo>
                  <a:pt x="51586" y="73810"/>
                  <a:pt x="53161" y="76383"/>
                  <a:pt x="55080" y="78690"/>
                </a:cubicBezTo>
                <a:cubicBezTo>
                  <a:pt x="63662" y="69305"/>
                  <a:pt x="76195" y="64558"/>
                  <a:pt x="88842" y="65904"/>
                </a:cubicBezTo>
                <a:cubicBezTo>
                  <a:pt x="113329" y="66376"/>
                  <a:pt x="109005" y="52340"/>
                  <a:pt x="109005" y="52322"/>
                </a:cubicBezTo>
                <a:cubicBezTo>
                  <a:pt x="108360" y="50175"/>
                  <a:pt x="109576" y="47911"/>
                  <a:pt x="111723" y="47265"/>
                </a:cubicBezTo>
                <a:cubicBezTo>
                  <a:pt x="113883" y="46636"/>
                  <a:pt x="116148" y="47852"/>
                  <a:pt x="116816" y="50000"/>
                </a:cubicBezTo>
                <a:cubicBezTo>
                  <a:pt x="116816" y="50054"/>
                  <a:pt x="124349" y="74694"/>
                  <a:pt x="88704" y="73998"/>
                </a:cubicBezTo>
                <a:cubicBezTo>
                  <a:pt x="63521" y="73508"/>
                  <a:pt x="58499" y="87809"/>
                  <a:pt x="58010" y="89523"/>
                </a:cubicBezTo>
                <a:lnTo>
                  <a:pt x="58010" y="89560"/>
                </a:lnTo>
                <a:lnTo>
                  <a:pt x="57942" y="89628"/>
                </a:lnTo>
                <a:lnTo>
                  <a:pt x="57942" y="89628"/>
                </a:lnTo>
                <a:lnTo>
                  <a:pt x="57942" y="89762"/>
                </a:lnTo>
                <a:lnTo>
                  <a:pt x="57942" y="89762"/>
                </a:lnTo>
                <a:lnTo>
                  <a:pt x="57871" y="90041"/>
                </a:lnTo>
                <a:lnTo>
                  <a:pt x="57871" y="90147"/>
                </a:lnTo>
                <a:cubicBezTo>
                  <a:pt x="57659" y="90896"/>
                  <a:pt x="57542" y="91669"/>
                  <a:pt x="57524" y="92448"/>
                </a:cubicBezTo>
                <a:cubicBezTo>
                  <a:pt x="57310" y="95145"/>
                  <a:pt x="58189" y="97816"/>
                  <a:pt x="59963" y="99859"/>
                </a:cubicBezTo>
                <a:cubicBezTo>
                  <a:pt x="62041" y="102195"/>
                  <a:pt x="64797" y="103823"/>
                  <a:pt x="67845" y="104517"/>
                </a:cubicBezTo>
                <a:cubicBezTo>
                  <a:pt x="69166" y="104885"/>
                  <a:pt x="70523" y="105108"/>
                  <a:pt x="71892" y="105184"/>
                </a:cubicBezTo>
                <a:cubicBezTo>
                  <a:pt x="74790" y="105354"/>
                  <a:pt x="77694" y="105010"/>
                  <a:pt x="80472" y="104168"/>
                </a:cubicBezTo>
                <a:cubicBezTo>
                  <a:pt x="83127" y="103397"/>
                  <a:pt x="85612" y="102131"/>
                  <a:pt x="87797" y="100437"/>
                </a:cubicBezTo>
                <a:cubicBezTo>
                  <a:pt x="96465" y="94120"/>
                  <a:pt x="106422" y="89798"/>
                  <a:pt x="116956" y="87780"/>
                </a:cubicBezTo>
                <a:cubicBezTo>
                  <a:pt x="120861" y="86922"/>
                  <a:pt x="124838" y="86297"/>
                  <a:pt x="128814" y="85826"/>
                </a:cubicBezTo>
                <a:cubicBezTo>
                  <a:pt x="127311" y="83648"/>
                  <a:pt x="126048" y="81314"/>
                  <a:pt x="125049" y="78864"/>
                </a:cubicBezTo>
                <a:cubicBezTo>
                  <a:pt x="123171" y="74361"/>
                  <a:pt x="122200" y="69532"/>
                  <a:pt x="122191" y="64653"/>
                </a:cubicBezTo>
                <a:close/>
                <a:moveTo>
                  <a:pt x="101402" y="37564"/>
                </a:moveTo>
                <a:lnTo>
                  <a:pt x="101402" y="37564"/>
                </a:lnTo>
                <a:cubicBezTo>
                  <a:pt x="116883" y="33404"/>
                  <a:pt x="132805" y="42582"/>
                  <a:pt x="136965" y="58063"/>
                </a:cubicBezTo>
                <a:lnTo>
                  <a:pt x="136978" y="58108"/>
                </a:lnTo>
                <a:cubicBezTo>
                  <a:pt x="137552" y="60269"/>
                  <a:pt x="139768" y="61557"/>
                  <a:pt x="141931" y="60986"/>
                </a:cubicBezTo>
                <a:cubicBezTo>
                  <a:pt x="144103" y="60399"/>
                  <a:pt x="145407" y="58181"/>
                  <a:pt x="144863" y="55997"/>
                </a:cubicBezTo>
                <a:cubicBezTo>
                  <a:pt x="139494" y="36199"/>
                  <a:pt x="119140" y="24456"/>
                  <a:pt x="99312" y="29718"/>
                </a:cubicBezTo>
                <a:cubicBezTo>
                  <a:pt x="97145" y="30296"/>
                  <a:pt x="95858" y="32522"/>
                  <a:pt x="96436" y="34689"/>
                </a:cubicBezTo>
                <a:cubicBezTo>
                  <a:pt x="97015" y="36856"/>
                  <a:pt x="99241" y="38143"/>
                  <a:pt x="101407" y="37564"/>
                </a:cubicBezTo>
                <a:close/>
                <a:moveTo>
                  <a:pt x="146953" y="98078"/>
                </a:moveTo>
                <a:lnTo>
                  <a:pt x="146953" y="98078"/>
                </a:lnTo>
                <a:cubicBezTo>
                  <a:pt x="137839" y="98265"/>
                  <a:pt x="128759" y="99251"/>
                  <a:pt x="119817" y="101025"/>
                </a:cubicBezTo>
                <a:cubicBezTo>
                  <a:pt x="114777" y="102059"/>
                  <a:pt x="109864" y="103639"/>
                  <a:pt x="105166" y="105735"/>
                </a:cubicBezTo>
                <a:cubicBezTo>
                  <a:pt x="107898" y="111855"/>
                  <a:pt x="113821" y="115936"/>
                  <a:pt x="120513" y="116308"/>
                </a:cubicBezTo>
                <a:cubicBezTo>
                  <a:pt x="123822" y="116300"/>
                  <a:pt x="127097" y="115630"/>
                  <a:pt x="130143" y="114336"/>
                </a:cubicBezTo>
                <a:cubicBezTo>
                  <a:pt x="133394" y="113026"/>
                  <a:pt x="136410" y="111195"/>
                  <a:pt x="139071" y="108914"/>
                </a:cubicBezTo>
                <a:cubicBezTo>
                  <a:pt x="142651" y="106103"/>
                  <a:pt x="145380" y="102353"/>
                  <a:pt x="146954" y="98082"/>
                </a:cubicBezTo>
                <a:close/>
              </a:path>
            </a:pathLst>
          </a:custGeom>
          <a:solidFill>
            <a:srgbClr val="BFBFB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2400" dirty="0">
              <a:latin typeface="Lato" panose="020F0502020204030203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03AFE6C-1E04-DE5A-C377-000E8ABFE7E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6 November 202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45734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ALYSIS NOW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SLANDS OF EXPERT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ase handlers need knowledge from all area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@2025 INNOWERK - FRANKFURT AM MAIN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6 November 2025</a:t>
            </a:r>
            <a:endParaRPr lang="de-DE" dirty="0"/>
          </a:p>
        </p:txBody>
      </p:sp>
      <p:grpSp>
        <p:nvGrpSpPr>
          <p:cNvPr id="69" name="Gruppieren 68"/>
          <p:cNvGrpSpPr>
            <a:grpSpLocks noChangeAspect="1"/>
          </p:cNvGrpSpPr>
          <p:nvPr/>
        </p:nvGrpSpPr>
        <p:grpSpPr>
          <a:xfrm>
            <a:off x="5317293" y="3062482"/>
            <a:ext cx="648000" cy="648000"/>
            <a:chOff x="8086827" y="3158289"/>
            <a:chExt cx="423396" cy="423396"/>
          </a:xfrm>
        </p:grpSpPr>
        <p:sp>
          <p:nvSpPr>
            <p:cNvPr id="9" name="Text Placeholder 9">
              <a:extLst>
                <a:ext uri="{FF2B5EF4-FFF2-40B4-BE49-F238E27FC236}">
                  <a16:creationId xmlns:a16="http://schemas.microsoft.com/office/drawing/2014/main" id="{230E794D-8076-4D3A-B81A-BF643648BC14}"/>
                </a:ext>
              </a:extLst>
            </p:cNvPr>
            <p:cNvSpPr txBox="1">
              <a:spLocks/>
            </p:cNvSpPr>
            <p:nvPr/>
          </p:nvSpPr>
          <p:spPr>
            <a:xfrm>
              <a:off x="8086827" y="3158289"/>
              <a:ext cx="423396" cy="423396"/>
            </a:xfrm>
            <a:prstGeom prst="rect">
              <a:avLst/>
            </a:prstGeom>
            <a:noFill/>
            <a:ln w="19050">
              <a:solidFill>
                <a:schemeClr val="bg1">
                  <a:lumMod val="75000"/>
                </a:schemeClr>
              </a:solidFill>
            </a:ln>
          </p:spPr>
          <p:txBody>
            <a:bodyPr lIns="0" tIns="0" rIns="0" bIns="0" anchor="ctr"/>
            <a:lstStyle>
              <a:lvl1pPr marL="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Tx/>
                <a:buNone/>
                <a:defRPr sz="1200" kern="1200" spc="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DE" sz="1800" dirty="0">
                <a:latin typeface="Lato" panose="020F0502020204030203" pitchFamily="34" charset="0"/>
              </a:endParaRPr>
            </a:p>
          </p:txBody>
        </p:sp>
        <p:sp>
          <p:nvSpPr>
            <p:cNvPr id="10" name="Freeform: Shape 272">
              <a:extLst>
                <a:ext uri="{FF2B5EF4-FFF2-40B4-BE49-F238E27FC236}">
                  <a16:creationId xmlns:a16="http://schemas.microsoft.com/office/drawing/2014/main" id="{B057B430-2DE4-4E28-AAB7-D0D4FD658EEE}"/>
                </a:ext>
              </a:extLst>
            </p:cNvPr>
            <p:cNvSpPr/>
            <p:nvPr/>
          </p:nvSpPr>
          <p:spPr>
            <a:xfrm>
              <a:off x="8194347" y="3246985"/>
              <a:ext cx="213520" cy="265465"/>
            </a:xfrm>
            <a:custGeom>
              <a:avLst/>
              <a:gdLst>
                <a:gd name="connsiteX0" fmla="*/ 18830 w 160140"/>
                <a:gd name="connsiteY0" fmla="*/ 0 h 199099"/>
                <a:gd name="connsiteX1" fmla="*/ 102190 w 160140"/>
                <a:gd name="connsiteY1" fmla="*/ 0 h 199099"/>
                <a:gd name="connsiteX2" fmla="*/ 107184 w 160140"/>
                <a:gd name="connsiteY2" fmla="*/ 2247 h 199099"/>
                <a:gd name="connsiteX3" fmla="*/ 158116 w 160140"/>
                <a:gd name="connsiteY3" fmla="*/ 57633 h 199099"/>
                <a:gd name="connsiteX4" fmla="*/ 160140 w 160140"/>
                <a:gd name="connsiteY4" fmla="*/ 63031 h 199099"/>
                <a:gd name="connsiteX5" fmla="*/ 160140 w 160140"/>
                <a:gd name="connsiteY5" fmla="*/ 178535 h 199099"/>
                <a:gd name="connsiteX6" fmla="*/ 154638 w 160140"/>
                <a:gd name="connsiteY6" fmla="*/ 193033 h 199099"/>
                <a:gd name="connsiteX7" fmla="*/ 154601 w 160140"/>
                <a:gd name="connsiteY7" fmla="*/ 193033 h 199099"/>
                <a:gd name="connsiteX8" fmla="*/ 154423 w 160140"/>
                <a:gd name="connsiteY8" fmla="*/ 193230 h 199099"/>
                <a:gd name="connsiteX9" fmla="*/ 141312 w 160140"/>
                <a:gd name="connsiteY9" fmla="*/ 199099 h 199099"/>
                <a:gd name="connsiteX10" fmla="*/ 18830 w 160140"/>
                <a:gd name="connsiteY10" fmla="*/ 199099 h 199099"/>
                <a:gd name="connsiteX11" fmla="*/ 5560 w 160140"/>
                <a:gd name="connsiteY11" fmla="*/ 193033 h 199099"/>
                <a:gd name="connsiteX12" fmla="*/ 5541 w 160140"/>
                <a:gd name="connsiteY12" fmla="*/ 193033 h 199099"/>
                <a:gd name="connsiteX13" fmla="*/ 1 w 160140"/>
                <a:gd name="connsiteY13" fmla="*/ 178535 h 199099"/>
                <a:gd name="connsiteX14" fmla="*/ 1 w 160140"/>
                <a:gd name="connsiteY14" fmla="*/ 20484 h 199099"/>
                <a:gd name="connsiteX15" fmla="*/ 5541 w 160140"/>
                <a:gd name="connsiteY15" fmla="*/ 5990 h 199099"/>
                <a:gd name="connsiteX16" fmla="*/ 18830 w 160140"/>
                <a:gd name="connsiteY16" fmla="*/ 0 h 199099"/>
                <a:gd name="connsiteX17" fmla="*/ 146090 w 160140"/>
                <a:gd name="connsiteY17" fmla="*/ 67601 h 199099"/>
                <a:gd name="connsiteX18" fmla="*/ 114008 w 160140"/>
                <a:gd name="connsiteY18" fmla="*/ 67601 h 199099"/>
                <a:gd name="connsiteX19" fmla="*/ 102674 w 160140"/>
                <a:gd name="connsiteY19" fmla="*/ 62477 h 199099"/>
                <a:gd name="connsiteX20" fmla="*/ 102459 w 160140"/>
                <a:gd name="connsiteY20" fmla="*/ 62244 h 199099"/>
                <a:gd name="connsiteX21" fmla="*/ 97983 w 160140"/>
                <a:gd name="connsiteY21" fmla="*/ 50147 h 199099"/>
                <a:gd name="connsiteX22" fmla="*/ 97983 w 160140"/>
                <a:gd name="connsiteY22" fmla="*/ 15286 h 199099"/>
                <a:gd name="connsiteX23" fmla="*/ 18830 w 160140"/>
                <a:gd name="connsiteY23" fmla="*/ 15286 h 199099"/>
                <a:gd name="connsiteX24" fmla="*/ 15496 w 160140"/>
                <a:gd name="connsiteY24" fmla="*/ 16822 h 199099"/>
                <a:gd name="connsiteX25" fmla="*/ 14084 w 160140"/>
                <a:gd name="connsiteY25" fmla="*/ 20485 h 199099"/>
                <a:gd name="connsiteX26" fmla="*/ 14084 w 160140"/>
                <a:gd name="connsiteY26" fmla="*/ 178535 h 199099"/>
                <a:gd name="connsiteX27" fmla="*/ 15496 w 160140"/>
                <a:gd name="connsiteY27" fmla="*/ 182237 h 199099"/>
                <a:gd name="connsiteX28" fmla="*/ 15459 w 160140"/>
                <a:gd name="connsiteY28" fmla="*/ 182237 h 199099"/>
                <a:gd name="connsiteX29" fmla="*/ 18826 w 160140"/>
                <a:gd name="connsiteY29" fmla="*/ 183734 h 199099"/>
                <a:gd name="connsiteX30" fmla="*/ 141306 w 160140"/>
                <a:gd name="connsiteY30" fmla="*/ 183734 h 199099"/>
                <a:gd name="connsiteX31" fmla="*/ 144676 w 160140"/>
                <a:gd name="connsiteY31" fmla="*/ 182237 h 199099"/>
                <a:gd name="connsiteX32" fmla="*/ 144710 w 160140"/>
                <a:gd name="connsiteY32" fmla="*/ 182237 h 199099"/>
                <a:gd name="connsiteX33" fmla="*/ 146086 w 160140"/>
                <a:gd name="connsiteY33" fmla="*/ 178535 h 199099"/>
                <a:gd name="connsiteX34" fmla="*/ 146086 w 160140"/>
                <a:gd name="connsiteY34" fmla="*/ 67601 h 199099"/>
                <a:gd name="connsiteX35" fmla="*/ 138959 w 160140"/>
                <a:gd name="connsiteY35" fmla="*/ 58423 h 199099"/>
                <a:gd name="connsiteX36" fmla="*/ 138959 w 160140"/>
                <a:gd name="connsiteY36" fmla="*/ 58423 h 199099"/>
                <a:gd name="connsiteX37" fmla="*/ 106404 w 160140"/>
                <a:gd name="connsiteY37" fmla="*/ 23046 h 199099"/>
                <a:gd name="connsiteX38" fmla="*/ 106404 w 160140"/>
                <a:gd name="connsiteY38" fmla="*/ 50150 h 199099"/>
                <a:gd name="connsiteX39" fmla="*/ 108451 w 160140"/>
                <a:gd name="connsiteY39" fmla="*/ 55781 h 199099"/>
                <a:gd name="connsiteX40" fmla="*/ 108651 w 160140"/>
                <a:gd name="connsiteY40" fmla="*/ 56019 h 199099"/>
                <a:gd name="connsiteX41" fmla="*/ 114008 w 160140"/>
                <a:gd name="connsiteY41" fmla="*/ 58423 h 199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60140" h="199099">
                  <a:moveTo>
                    <a:pt x="18830" y="0"/>
                  </a:moveTo>
                  <a:lnTo>
                    <a:pt x="102190" y="0"/>
                  </a:lnTo>
                  <a:cubicBezTo>
                    <a:pt x="104097" y="10"/>
                    <a:pt x="105911" y="826"/>
                    <a:pt x="107184" y="2247"/>
                  </a:cubicBezTo>
                  <a:lnTo>
                    <a:pt x="158116" y="57633"/>
                  </a:lnTo>
                  <a:cubicBezTo>
                    <a:pt x="159445" y="59114"/>
                    <a:pt x="160168" y="61041"/>
                    <a:pt x="160140" y="63031"/>
                  </a:cubicBezTo>
                  <a:lnTo>
                    <a:pt x="160140" y="178535"/>
                  </a:lnTo>
                  <a:cubicBezTo>
                    <a:pt x="160186" y="183886"/>
                    <a:pt x="158223" y="189059"/>
                    <a:pt x="154638" y="193033"/>
                  </a:cubicBezTo>
                  <a:lnTo>
                    <a:pt x="154601" y="193033"/>
                  </a:lnTo>
                  <a:lnTo>
                    <a:pt x="154423" y="193230"/>
                  </a:lnTo>
                  <a:cubicBezTo>
                    <a:pt x="151057" y="196921"/>
                    <a:pt x="146308" y="199047"/>
                    <a:pt x="141312" y="199099"/>
                  </a:cubicBezTo>
                  <a:lnTo>
                    <a:pt x="18830" y="199099"/>
                  </a:lnTo>
                  <a:cubicBezTo>
                    <a:pt x="13750" y="199035"/>
                    <a:pt x="8932" y="196833"/>
                    <a:pt x="5560" y="193033"/>
                  </a:cubicBezTo>
                  <a:lnTo>
                    <a:pt x="5541" y="193033"/>
                  </a:lnTo>
                  <a:cubicBezTo>
                    <a:pt x="1931" y="189072"/>
                    <a:pt x="-48" y="183893"/>
                    <a:pt x="1" y="178535"/>
                  </a:cubicBezTo>
                  <a:lnTo>
                    <a:pt x="1" y="20484"/>
                  </a:lnTo>
                  <a:cubicBezTo>
                    <a:pt x="-41" y="15128"/>
                    <a:pt x="1937" y="9953"/>
                    <a:pt x="5541" y="5990"/>
                  </a:cubicBezTo>
                  <a:cubicBezTo>
                    <a:pt x="8932" y="2215"/>
                    <a:pt x="13755" y="41"/>
                    <a:pt x="18830" y="0"/>
                  </a:cubicBezTo>
                  <a:close/>
                  <a:moveTo>
                    <a:pt x="146090" y="67601"/>
                  </a:moveTo>
                  <a:lnTo>
                    <a:pt x="114008" y="67601"/>
                  </a:lnTo>
                  <a:cubicBezTo>
                    <a:pt x="109680" y="67555"/>
                    <a:pt x="105568" y="65697"/>
                    <a:pt x="102674" y="62477"/>
                  </a:cubicBezTo>
                  <a:lnTo>
                    <a:pt x="102459" y="62244"/>
                  </a:lnTo>
                  <a:cubicBezTo>
                    <a:pt x="99547" y="58890"/>
                    <a:pt x="97955" y="54590"/>
                    <a:pt x="97983" y="50147"/>
                  </a:cubicBezTo>
                  <a:lnTo>
                    <a:pt x="97983" y="15286"/>
                  </a:lnTo>
                  <a:lnTo>
                    <a:pt x="18830" y="15286"/>
                  </a:lnTo>
                  <a:cubicBezTo>
                    <a:pt x="17555" y="15318"/>
                    <a:pt x="16349" y="15873"/>
                    <a:pt x="15496" y="16822"/>
                  </a:cubicBezTo>
                  <a:cubicBezTo>
                    <a:pt x="14576" y="17819"/>
                    <a:pt x="14071" y="19129"/>
                    <a:pt x="14084" y="20485"/>
                  </a:cubicBezTo>
                  <a:lnTo>
                    <a:pt x="14084" y="178535"/>
                  </a:lnTo>
                  <a:cubicBezTo>
                    <a:pt x="14077" y="179902"/>
                    <a:pt x="14581" y="181222"/>
                    <a:pt x="15496" y="182237"/>
                  </a:cubicBezTo>
                  <a:lnTo>
                    <a:pt x="15459" y="182237"/>
                  </a:lnTo>
                  <a:cubicBezTo>
                    <a:pt x="16324" y="183183"/>
                    <a:pt x="17544" y="183725"/>
                    <a:pt x="18826" y="183734"/>
                  </a:cubicBezTo>
                  <a:lnTo>
                    <a:pt x="141306" y="183734"/>
                  </a:lnTo>
                  <a:cubicBezTo>
                    <a:pt x="142590" y="183732"/>
                    <a:pt x="143814" y="183188"/>
                    <a:pt x="144676" y="182237"/>
                  </a:cubicBezTo>
                  <a:lnTo>
                    <a:pt x="144710" y="182237"/>
                  </a:lnTo>
                  <a:cubicBezTo>
                    <a:pt x="145584" y="181200"/>
                    <a:pt x="146071" y="179891"/>
                    <a:pt x="146086" y="178535"/>
                  </a:cubicBezTo>
                  <a:lnTo>
                    <a:pt x="146086" y="67601"/>
                  </a:lnTo>
                  <a:close/>
                  <a:moveTo>
                    <a:pt x="138959" y="58423"/>
                  </a:moveTo>
                  <a:lnTo>
                    <a:pt x="138959" y="58423"/>
                  </a:lnTo>
                  <a:lnTo>
                    <a:pt x="106404" y="23046"/>
                  </a:lnTo>
                  <a:lnTo>
                    <a:pt x="106404" y="50150"/>
                  </a:lnTo>
                  <a:cubicBezTo>
                    <a:pt x="106389" y="52212"/>
                    <a:pt x="107116" y="54210"/>
                    <a:pt x="108451" y="55781"/>
                  </a:cubicBezTo>
                  <a:lnTo>
                    <a:pt x="108651" y="56019"/>
                  </a:lnTo>
                  <a:cubicBezTo>
                    <a:pt x="110031" y="57522"/>
                    <a:pt x="111968" y="58391"/>
                    <a:pt x="114008" y="58423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</p:grpSp>
      <p:grpSp>
        <p:nvGrpSpPr>
          <p:cNvPr id="76" name="Gruppieren 75"/>
          <p:cNvGrpSpPr/>
          <p:nvPr/>
        </p:nvGrpSpPr>
        <p:grpSpPr>
          <a:xfrm>
            <a:off x="6104115" y="4698950"/>
            <a:ext cx="648000" cy="648000"/>
            <a:chOff x="8407867" y="3826834"/>
            <a:chExt cx="423396" cy="423396"/>
          </a:xfrm>
        </p:grpSpPr>
        <p:sp>
          <p:nvSpPr>
            <p:cNvPr id="11" name="Text Placeholder 9">
              <a:extLst>
                <a:ext uri="{FF2B5EF4-FFF2-40B4-BE49-F238E27FC236}">
                  <a16:creationId xmlns:a16="http://schemas.microsoft.com/office/drawing/2014/main" id="{230E794D-8076-4D3A-B81A-BF643648BC14}"/>
                </a:ext>
              </a:extLst>
            </p:cNvPr>
            <p:cNvSpPr txBox="1">
              <a:spLocks/>
            </p:cNvSpPr>
            <p:nvPr/>
          </p:nvSpPr>
          <p:spPr>
            <a:xfrm>
              <a:off x="8407867" y="3826834"/>
              <a:ext cx="423396" cy="423396"/>
            </a:xfrm>
            <a:prstGeom prst="rect">
              <a:avLst/>
            </a:prstGeom>
            <a:noFill/>
            <a:ln w="19050">
              <a:solidFill>
                <a:schemeClr val="bg1">
                  <a:lumMod val="75000"/>
                </a:schemeClr>
              </a:solidFill>
            </a:ln>
          </p:spPr>
          <p:txBody>
            <a:bodyPr lIns="0" tIns="0" rIns="0" bIns="0" anchor="ctr"/>
            <a:lstStyle>
              <a:lvl1pPr marL="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Tx/>
                <a:buNone/>
                <a:defRPr sz="1200" kern="1200" spc="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DE" sz="1800" dirty="0">
                <a:latin typeface="Lato" panose="020F0502020204030203" pitchFamily="34" charset="0"/>
              </a:endParaRPr>
            </a:p>
          </p:txBody>
        </p:sp>
        <p:sp>
          <p:nvSpPr>
            <p:cNvPr id="12" name="Freeform: Shape 262">
              <a:extLst>
                <a:ext uri="{FF2B5EF4-FFF2-40B4-BE49-F238E27FC236}">
                  <a16:creationId xmlns:a16="http://schemas.microsoft.com/office/drawing/2014/main" id="{A970AD53-41D1-4E8B-A09E-0E3C6EC0B40E}"/>
                </a:ext>
              </a:extLst>
            </p:cNvPr>
            <p:cNvSpPr/>
            <p:nvPr/>
          </p:nvSpPr>
          <p:spPr>
            <a:xfrm>
              <a:off x="8474895" y="3914772"/>
              <a:ext cx="265484" cy="265453"/>
            </a:xfrm>
            <a:custGeom>
              <a:avLst/>
              <a:gdLst>
                <a:gd name="connsiteX0" fmla="*/ 21049 w 199113"/>
                <a:gd name="connsiteY0" fmla="*/ 158927 h 199090"/>
                <a:gd name="connsiteX1" fmla="*/ 66657 w 199113"/>
                <a:gd name="connsiteY1" fmla="*/ 91856 h 199090"/>
                <a:gd name="connsiteX2" fmla="*/ 77601 w 199113"/>
                <a:gd name="connsiteY2" fmla="*/ 89735 h 199090"/>
                <a:gd name="connsiteX3" fmla="*/ 77611 w 199113"/>
                <a:gd name="connsiteY3" fmla="*/ 89742 h 199090"/>
                <a:gd name="connsiteX4" fmla="*/ 79746 w 199113"/>
                <a:gd name="connsiteY4" fmla="*/ 91898 h 199090"/>
                <a:gd name="connsiteX5" fmla="*/ 88121 w 199113"/>
                <a:gd name="connsiteY5" fmla="*/ 104256 h 199090"/>
                <a:gd name="connsiteX6" fmla="*/ 118728 w 199113"/>
                <a:gd name="connsiteY6" fmla="*/ 59177 h 199090"/>
                <a:gd name="connsiteX7" fmla="*/ 129682 w 199113"/>
                <a:gd name="connsiteY7" fmla="*/ 57062 h 199090"/>
                <a:gd name="connsiteX8" fmla="*/ 131816 w 199113"/>
                <a:gd name="connsiteY8" fmla="*/ 59253 h 199090"/>
                <a:gd name="connsiteX9" fmla="*/ 141024 w 199113"/>
                <a:gd name="connsiteY9" fmla="*/ 72789 h 199090"/>
                <a:gd name="connsiteX10" fmla="*/ 176510 w 199113"/>
                <a:gd name="connsiteY10" fmla="*/ 20592 h 199090"/>
                <a:gd name="connsiteX11" fmla="*/ 187400 w 199113"/>
                <a:gd name="connsiteY11" fmla="*/ 18477 h 199090"/>
                <a:gd name="connsiteX12" fmla="*/ 190857 w 199113"/>
                <a:gd name="connsiteY12" fmla="*/ 25025 h 199090"/>
                <a:gd name="connsiteX13" fmla="*/ 190899 w 199113"/>
                <a:gd name="connsiteY13" fmla="*/ 25025 h 199090"/>
                <a:gd name="connsiteX14" fmla="*/ 190899 w 199113"/>
                <a:gd name="connsiteY14" fmla="*/ 163930 h 199090"/>
                <a:gd name="connsiteX15" fmla="*/ 182993 w 199113"/>
                <a:gd name="connsiteY15" fmla="*/ 171856 h 199090"/>
                <a:gd name="connsiteX16" fmla="*/ 27164 w 199113"/>
                <a:gd name="connsiteY16" fmla="*/ 171856 h 199090"/>
                <a:gd name="connsiteX17" fmla="*/ 19239 w 199113"/>
                <a:gd name="connsiteY17" fmla="*/ 163930 h 199090"/>
                <a:gd name="connsiteX18" fmla="*/ 21048 w 199113"/>
                <a:gd name="connsiteY18" fmla="*/ 158927 h 199090"/>
                <a:gd name="connsiteX19" fmla="*/ 4874 w 199113"/>
                <a:gd name="connsiteY19" fmla="*/ 199090 h 199090"/>
                <a:gd name="connsiteX20" fmla="*/ 194379 w 199113"/>
                <a:gd name="connsiteY20" fmla="*/ 199090 h 199090"/>
                <a:gd name="connsiteX21" fmla="*/ 199113 w 199113"/>
                <a:gd name="connsiteY21" fmla="*/ 194355 h 199090"/>
                <a:gd name="connsiteX22" fmla="*/ 194379 w 199113"/>
                <a:gd name="connsiteY22" fmla="*/ 189620 h 199090"/>
                <a:gd name="connsiteX23" fmla="*/ 9491 w 199113"/>
                <a:gd name="connsiteY23" fmla="*/ 189620 h 199090"/>
                <a:gd name="connsiteX24" fmla="*/ 9491 w 199113"/>
                <a:gd name="connsiteY24" fmla="*/ 4745 h 199090"/>
                <a:gd name="connsiteX25" fmla="*/ 4745 w 199113"/>
                <a:gd name="connsiteY25" fmla="*/ 0 h 199090"/>
                <a:gd name="connsiteX26" fmla="*/ 0 w 199113"/>
                <a:gd name="connsiteY26" fmla="*/ 4745 h 199090"/>
                <a:gd name="connsiteX27" fmla="*/ 0 w 199113"/>
                <a:gd name="connsiteY27" fmla="*/ 194333 h 199090"/>
                <a:gd name="connsiteX28" fmla="*/ 4753 w 199113"/>
                <a:gd name="connsiteY28" fmla="*/ 199091 h 199090"/>
                <a:gd name="connsiteX29" fmla="*/ 73204 w 199113"/>
                <a:gd name="connsiteY29" fmla="*/ 110229 h 199090"/>
                <a:gd name="connsiteX30" fmla="*/ 73204 w 199113"/>
                <a:gd name="connsiteY30" fmla="*/ 110229 h 199090"/>
                <a:gd name="connsiteX31" fmla="*/ 42023 w 199113"/>
                <a:gd name="connsiteY31" fmla="*/ 155999 h 199090"/>
                <a:gd name="connsiteX32" fmla="*/ 175110 w 199113"/>
                <a:gd name="connsiteY32" fmla="*/ 155999 h 199090"/>
                <a:gd name="connsiteX33" fmla="*/ 175110 w 199113"/>
                <a:gd name="connsiteY33" fmla="*/ 50599 h 199090"/>
                <a:gd name="connsiteX34" fmla="*/ 147592 w 199113"/>
                <a:gd name="connsiteY34" fmla="*/ 91088 h 199090"/>
                <a:gd name="connsiteX35" fmla="*/ 145436 w 199113"/>
                <a:gd name="connsiteY35" fmla="*/ 93278 h 199090"/>
                <a:gd name="connsiteX36" fmla="*/ 134523 w 199113"/>
                <a:gd name="connsiteY36" fmla="*/ 91164 h 199090"/>
                <a:gd name="connsiteX37" fmla="*/ 125257 w 199113"/>
                <a:gd name="connsiteY37" fmla="*/ 77585 h 199090"/>
                <a:gd name="connsiteX38" fmla="*/ 94666 w 199113"/>
                <a:gd name="connsiteY38" fmla="*/ 122543 h 199090"/>
                <a:gd name="connsiteX39" fmla="*/ 92531 w 199113"/>
                <a:gd name="connsiteY39" fmla="*/ 124741 h 199090"/>
                <a:gd name="connsiteX40" fmla="*/ 81638 w 199113"/>
                <a:gd name="connsiteY40" fmla="*/ 122627 h 199090"/>
                <a:gd name="connsiteX41" fmla="*/ 73204 w 199113"/>
                <a:gd name="connsiteY41" fmla="*/ 110226 h 199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99113" h="199090">
                  <a:moveTo>
                    <a:pt x="21049" y="158927"/>
                  </a:moveTo>
                  <a:lnTo>
                    <a:pt x="66657" y="91856"/>
                  </a:lnTo>
                  <a:cubicBezTo>
                    <a:pt x="69093" y="88248"/>
                    <a:pt x="73994" y="87299"/>
                    <a:pt x="77601" y="89735"/>
                  </a:cubicBezTo>
                  <a:cubicBezTo>
                    <a:pt x="77604" y="89738"/>
                    <a:pt x="77608" y="89740"/>
                    <a:pt x="77611" y="89742"/>
                  </a:cubicBezTo>
                  <a:cubicBezTo>
                    <a:pt x="78453" y="90318"/>
                    <a:pt x="79178" y="91050"/>
                    <a:pt x="79746" y="91898"/>
                  </a:cubicBezTo>
                  <a:lnTo>
                    <a:pt x="88121" y="104256"/>
                  </a:lnTo>
                  <a:lnTo>
                    <a:pt x="118728" y="59177"/>
                  </a:lnTo>
                  <a:cubicBezTo>
                    <a:pt x="121179" y="55583"/>
                    <a:pt x="126070" y="54639"/>
                    <a:pt x="129682" y="57062"/>
                  </a:cubicBezTo>
                  <a:cubicBezTo>
                    <a:pt x="130521" y="57656"/>
                    <a:pt x="131245" y="58399"/>
                    <a:pt x="131816" y="59253"/>
                  </a:cubicBezTo>
                  <a:lnTo>
                    <a:pt x="141024" y="72789"/>
                  </a:lnTo>
                  <a:lnTo>
                    <a:pt x="176510" y="20592"/>
                  </a:lnTo>
                  <a:cubicBezTo>
                    <a:pt x="178933" y="17001"/>
                    <a:pt x="183809" y="16054"/>
                    <a:pt x="187400" y="18477"/>
                  </a:cubicBezTo>
                  <a:cubicBezTo>
                    <a:pt x="189575" y="19945"/>
                    <a:pt x="190872" y="22402"/>
                    <a:pt x="190857" y="25025"/>
                  </a:cubicBezTo>
                  <a:lnTo>
                    <a:pt x="190899" y="25025"/>
                  </a:lnTo>
                  <a:lnTo>
                    <a:pt x="190899" y="163930"/>
                  </a:lnTo>
                  <a:cubicBezTo>
                    <a:pt x="190890" y="168296"/>
                    <a:pt x="187359" y="171835"/>
                    <a:pt x="182993" y="171856"/>
                  </a:cubicBezTo>
                  <a:lnTo>
                    <a:pt x="27164" y="171856"/>
                  </a:lnTo>
                  <a:cubicBezTo>
                    <a:pt x="22789" y="171852"/>
                    <a:pt x="19243" y="168306"/>
                    <a:pt x="19239" y="163930"/>
                  </a:cubicBezTo>
                  <a:cubicBezTo>
                    <a:pt x="19230" y="162101"/>
                    <a:pt x="19871" y="160328"/>
                    <a:pt x="21048" y="158927"/>
                  </a:cubicBezTo>
                  <a:close/>
                  <a:moveTo>
                    <a:pt x="4874" y="199090"/>
                  </a:moveTo>
                  <a:lnTo>
                    <a:pt x="194379" y="199090"/>
                  </a:lnTo>
                  <a:cubicBezTo>
                    <a:pt x="196994" y="199090"/>
                    <a:pt x="199113" y="196970"/>
                    <a:pt x="199113" y="194355"/>
                  </a:cubicBezTo>
                  <a:cubicBezTo>
                    <a:pt x="199113" y="191740"/>
                    <a:pt x="196994" y="189620"/>
                    <a:pt x="194379" y="189620"/>
                  </a:cubicBezTo>
                  <a:lnTo>
                    <a:pt x="9491" y="189620"/>
                  </a:lnTo>
                  <a:lnTo>
                    <a:pt x="9491" y="4745"/>
                  </a:lnTo>
                  <a:cubicBezTo>
                    <a:pt x="9491" y="2125"/>
                    <a:pt x="7366" y="0"/>
                    <a:pt x="4745" y="0"/>
                  </a:cubicBezTo>
                  <a:cubicBezTo>
                    <a:pt x="2125" y="0"/>
                    <a:pt x="0" y="2125"/>
                    <a:pt x="0" y="4745"/>
                  </a:cubicBezTo>
                  <a:lnTo>
                    <a:pt x="0" y="194333"/>
                  </a:lnTo>
                  <a:cubicBezTo>
                    <a:pt x="3" y="196958"/>
                    <a:pt x="2128" y="199085"/>
                    <a:pt x="4753" y="199091"/>
                  </a:cubicBezTo>
                  <a:close/>
                  <a:moveTo>
                    <a:pt x="73204" y="110229"/>
                  </a:moveTo>
                  <a:lnTo>
                    <a:pt x="73204" y="110229"/>
                  </a:lnTo>
                  <a:lnTo>
                    <a:pt x="42023" y="155999"/>
                  </a:lnTo>
                  <a:lnTo>
                    <a:pt x="175110" y="155999"/>
                  </a:lnTo>
                  <a:lnTo>
                    <a:pt x="175110" y="50599"/>
                  </a:lnTo>
                  <a:lnTo>
                    <a:pt x="147592" y="91088"/>
                  </a:lnTo>
                  <a:cubicBezTo>
                    <a:pt x="147006" y="91938"/>
                    <a:pt x="146277" y="92679"/>
                    <a:pt x="145436" y="93278"/>
                  </a:cubicBezTo>
                  <a:cubicBezTo>
                    <a:pt x="141833" y="95682"/>
                    <a:pt x="136967" y="94739"/>
                    <a:pt x="134523" y="91164"/>
                  </a:cubicBezTo>
                  <a:lnTo>
                    <a:pt x="125257" y="77585"/>
                  </a:lnTo>
                  <a:lnTo>
                    <a:pt x="94666" y="122543"/>
                  </a:lnTo>
                  <a:cubicBezTo>
                    <a:pt x="94093" y="123399"/>
                    <a:pt x="93370" y="124144"/>
                    <a:pt x="92531" y="124741"/>
                  </a:cubicBezTo>
                  <a:cubicBezTo>
                    <a:pt x="88934" y="127142"/>
                    <a:pt x="84075" y="126199"/>
                    <a:pt x="81638" y="122627"/>
                  </a:cubicBezTo>
                  <a:lnTo>
                    <a:pt x="73204" y="110226"/>
                  </a:lnTo>
                  <a:close/>
                </a:path>
              </a:pathLst>
            </a:custGeom>
            <a:solidFill>
              <a:srgbClr val="BFBFB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</p:grpSp>
      <p:grpSp>
        <p:nvGrpSpPr>
          <p:cNvPr id="158" name="Gruppieren 157"/>
          <p:cNvGrpSpPr/>
          <p:nvPr/>
        </p:nvGrpSpPr>
        <p:grpSpPr>
          <a:xfrm>
            <a:off x="5829068" y="3896868"/>
            <a:ext cx="648000" cy="648000"/>
            <a:chOff x="5829068" y="3896868"/>
            <a:chExt cx="648000" cy="648000"/>
          </a:xfrm>
        </p:grpSpPr>
        <p:sp>
          <p:nvSpPr>
            <p:cNvPr id="13" name="Text Placeholder 9">
              <a:extLst>
                <a:ext uri="{FF2B5EF4-FFF2-40B4-BE49-F238E27FC236}">
                  <a16:creationId xmlns:a16="http://schemas.microsoft.com/office/drawing/2014/main" id="{230E794D-8076-4D3A-B81A-BF643648BC14}"/>
                </a:ext>
              </a:extLst>
            </p:cNvPr>
            <p:cNvSpPr txBox="1">
              <a:spLocks/>
            </p:cNvSpPr>
            <p:nvPr/>
          </p:nvSpPr>
          <p:spPr>
            <a:xfrm>
              <a:off x="5829068" y="3896868"/>
              <a:ext cx="648000" cy="648000"/>
            </a:xfrm>
            <a:prstGeom prst="rect">
              <a:avLst/>
            </a:prstGeom>
            <a:noFill/>
            <a:ln w="19050">
              <a:solidFill>
                <a:schemeClr val="bg1">
                  <a:lumMod val="75000"/>
                </a:schemeClr>
              </a:solidFill>
            </a:ln>
          </p:spPr>
          <p:txBody>
            <a:bodyPr lIns="0" tIns="0" rIns="0" bIns="0" anchor="ctr"/>
            <a:lstStyle>
              <a:lvl1pPr marL="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Tx/>
                <a:buNone/>
                <a:defRPr sz="1200" kern="1200" spc="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DE" sz="1800" dirty="0">
                <a:latin typeface="Lato" panose="020F0502020204030203" pitchFamily="34" charset="0"/>
              </a:endParaRPr>
            </a:p>
          </p:txBody>
        </p:sp>
        <p:sp>
          <p:nvSpPr>
            <p:cNvPr id="14" name="Freeform: Shape 303">
              <a:extLst>
                <a:ext uri="{FF2B5EF4-FFF2-40B4-BE49-F238E27FC236}">
                  <a16:creationId xmlns:a16="http://schemas.microsoft.com/office/drawing/2014/main" id="{94154BD1-6AA6-4F25-9B66-5A7D6DEA30DD}"/>
                </a:ext>
              </a:extLst>
            </p:cNvPr>
            <p:cNvSpPr/>
            <p:nvPr/>
          </p:nvSpPr>
          <p:spPr>
            <a:xfrm>
              <a:off x="5957117" y="4017626"/>
              <a:ext cx="406484" cy="406484"/>
            </a:xfrm>
            <a:custGeom>
              <a:avLst/>
              <a:gdLst>
                <a:gd name="connsiteX0" fmla="*/ 99509 w 199194"/>
                <a:gd name="connsiteY0" fmla="*/ 0 h 199194"/>
                <a:gd name="connsiteX1" fmla="*/ 199194 w 199194"/>
                <a:gd name="connsiteY1" fmla="*/ 99509 h 199194"/>
                <a:gd name="connsiteX2" fmla="*/ 99686 w 199194"/>
                <a:gd name="connsiteY2" fmla="*/ 199194 h 199194"/>
                <a:gd name="connsiteX3" fmla="*/ 0 w 199194"/>
                <a:gd name="connsiteY3" fmla="*/ 99686 h 199194"/>
                <a:gd name="connsiteX4" fmla="*/ 29153 w 199194"/>
                <a:gd name="connsiteY4" fmla="*/ 29189 h 199194"/>
                <a:gd name="connsiteX5" fmla="*/ 99509 w 199194"/>
                <a:gd name="connsiteY5" fmla="*/ 0 h 199194"/>
                <a:gd name="connsiteX6" fmla="*/ 94942 w 199194"/>
                <a:gd name="connsiteY6" fmla="*/ 183693 h 199194"/>
                <a:gd name="connsiteX7" fmla="*/ 94942 w 199194"/>
                <a:gd name="connsiteY7" fmla="*/ 183693 h 199194"/>
                <a:gd name="connsiteX8" fmla="*/ 94942 w 199194"/>
                <a:gd name="connsiteY8" fmla="*/ 151430 h 199194"/>
                <a:gd name="connsiteX9" fmla="*/ 69097 w 199194"/>
                <a:gd name="connsiteY9" fmla="*/ 156787 h 199194"/>
                <a:gd name="connsiteX10" fmla="*/ 65632 w 199194"/>
                <a:gd name="connsiteY10" fmla="*/ 158126 h 199194"/>
                <a:gd name="connsiteX11" fmla="*/ 67758 w 199194"/>
                <a:gd name="connsiteY11" fmla="*/ 162342 h 199194"/>
                <a:gd name="connsiteX12" fmla="*/ 85644 w 199194"/>
                <a:gd name="connsiteY12" fmla="*/ 182670 h 199194"/>
                <a:gd name="connsiteX13" fmla="*/ 94942 w 199194"/>
                <a:gd name="connsiteY13" fmla="*/ 183693 h 199194"/>
                <a:gd name="connsiteX14" fmla="*/ 159074 w 199194"/>
                <a:gd name="connsiteY14" fmla="*/ 39984 h 199194"/>
                <a:gd name="connsiteX15" fmla="*/ 159074 w 199194"/>
                <a:gd name="connsiteY15" fmla="*/ 39984 h 199194"/>
                <a:gd name="connsiteX16" fmla="*/ 156948 w 199194"/>
                <a:gd name="connsiteY16" fmla="*/ 37975 h 199194"/>
                <a:gd name="connsiteX17" fmla="*/ 145287 w 199194"/>
                <a:gd name="connsiteY17" fmla="*/ 45458 h 199194"/>
                <a:gd name="connsiteX18" fmla="*/ 154584 w 199194"/>
                <a:gd name="connsiteY18" fmla="*/ 94980 h 199194"/>
                <a:gd name="connsiteX19" fmla="*/ 183657 w 199194"/>
                <a:gd name="connsiteY19" fmla="*/ 94980 h 199194"/>
                <a:gd name="connsiteX20" fmla="*/ 159074 w 199194"/>
                <a:gd name="connsiteY20" fmla="*/ 39984 h 199194"/>
                <a:gd name="connsiteX21" fmla="*/ 149700 w 199194"/>
                <a:gd name="connsiteY21" fmla="*/ 31949 h 199194"/>
                <a:gd name="connsiteX22" fmla="*/ 149700 w 199194"/>
                <a:gd name="connsiteY22" fmla="*/ 31949 h 199194"/>
                <a:gd name="connsiteX23" fmla="*/ 132600 w 199194"/>
                <a:gd name="connsiteY23" fmla="*/ 22058 h 199194"/>
                <a:gd name="connsiteX24" fmla="*/ 139300 w 199194"/>
                <a:gd name="connsiteY24" fmla="*/ 32380 h 199194"/>
                <a:gd name="connsiteX25" fmla="*/ 141663 w 199194"/>
                <a:gd name="connsiteY25" fmla="*/ 36991 h 199194"/>
                <a:gd name="connsiteX26" fmla="*/ 149700 w 199194"/>
                <a:gd name="connsiteY26" fmla="*/ 31949 h 199194"/>
                <a:gd name="connsiteX27" fmla="*/ 113378 w 199194"/>
                <a:gd name="connsiteY27" fmla="*/ 16467 h 199194"/>
                <a:gd name="connsiteX28" fmla="*/ 113378 w 199194"/>
                <a:gd name="connsiteY28" fmla="*/ 16467 h 199194"/>
                <a:gd name="connsiteX29" fmla="*/ 104080 w 199194"/>
                <a:gd name="connsiteY29" fmla="*/ 15442 h 199194"/>
                <a:gd name="connsiteX30" fmla="*/ 104080 w 199194"/>
                <a:gd name="connsiteY30" fmla="*/ 47705 h 199194"/>
                <a:gd name="connsiteX31" fmla="*/ 129921 w 199194"/>
                <a:gd name="connsiteY31" fmla="*/ 42348 h 199194"/>
                <a:gd name="connsiteX32" fmla="*/ 133390 w 199194"/>
                <a:gd name="connsiteY32" fmla="*/ 41009 h 199194"/>
                <a:gd name="connsiteX33" fmla="*/ 131260 w 199194"/>
                <a:gd name="connsiteY33" fmla="*/ 36793 h 199194"/>
                <a:gd name="connsiteX34" fmla="*/ 113378 w 199194"/>
                <a:gd name="connsiteY34" fmla="*/ 16467 h 199194"/>
                <a:gd name="connsiteX35" fmla="*/ 94942 w 199194"/>
                <a:gd name="connsiteY35" fmla="*/ 15442 h 199194"/>
                <a:gd name="connsiteX36" fmla="*/ 94942 w 199194"/>
                <a:gd name="connsiteY36" fmla="*/ 15442 h 199194"/>
                <a:gd name="connsiteX37" fmla="*/ 85644 w 199194"/>
                <a:gd name="connsiteY37" fmla="*/ 16467 h 199194"/>
                <a:gd name="connsiteX38" fmla="*/ 67758 w 199194"/>
                <a:gd name="connsiteY38" fmla="*/ 36793 h 199194"/>
                <a:gd name="connsiteX39" fmla="*/ 65632 w 199194"/>
                <a:gd name="connsiteY39" fmla="*/ 41009 h 199194"/>
                <a:gd name="connsiteX40" fmla="*/ 69097 w 199194"/>
                <a:gd name="connsiteY40" fmla="*/ 42348 h 199194"/>
                <a:gd name="connsiteX41" fmla="*/ 94942 w 199194"/>
                <a:gd name="connsiteY41" fmla="*/ 47705 h 199194"/>
                <a:gd name="connsiteX42" fmla="*/ 94942 w 199194"/>
                <a:gd name="connsiteY42" fmla="*/ 15442 h 199194"/>
                <a:gd name="connsiteX43" fmla="*/ 66419 w 199194"/>
                <a:gd name="connsiteY43" fmla="*/ 22058 h 199194"/>
                <a:gd name="connsiteX44" fmla="*/ 66419 w 199194"/>
                <a:gd name="connsiteY44" fmla="*/ 22058 h 199194"/>
                <a:gd name="connsiteX45" fmla="*/ 49242 w 199194"/>
                <a:gd name="connsiteY45" fmla="*/ 31949 h 199194"/>
                <a:gd name="connsiteX46" fmla="*/ 57358 w 199194"/>
                <a:gd name="connsiteY46" fmla="*/ 36991 h 199194"/>
                <a:gd name="connsiteX47" fmla="*/ 59723 w 199194"/>
                <a:gd name="connsiteY47" fmla="*/ 32380 h 199194"/>
                <a:gd name="connsiteX48" fmla="*/ 66419 w 199194"/>
                <a:gd name="connsiteY48" fmla="*/ 22058 h 199194"/>
                <a:gd name="connsiteX49" fmla="*/ 42074 w 199194"/>
                <a:gd name="connsiteY49" fmla="*/ 37975 h 199194"/>
                <a:gd name="connsiteX50" fmla="*/ 42074 w 199194"/>
                <a:gd name="connsiteY50" fmla="*/ 37975 h 199194"/>
                <a:gd name="connsiteX51" fmla="*/ 39948 w 199194"/>
                <a:gd name="connsiteY51" fmla="*/ 39984 h 199194"/>
                <a:gd name="connsiteX52" fmla="*/ 15365 w 199194"/>
                <a:gd name="connsiteY52" fmla="*/ 94980 h 199194"/>
                <a:gd name="connsiteX53" fmla="*/ 44438 w 199194"/>
                <a:gd name="connsiteY53" fmla="*/ 94980 h 199194"/>
                <a:gd name="connsiteX54" fmla="*/ 53736 w 199194"/>
                <a:gd name="connsiteY54" fmla="*/ 45458 h 199194"/>
                <a:gd name="connsiteX55" fmla="*/ 42074 w 199194"/>
                <a:gd name="connsiteY55" fmla="*/ 37975 h 199194"/>
                <a:gd name="connsiteX56" fmla="*/ 15365 w 199194"/>
                <a:gd name="connsiteY56" fmla="*/ 104157 h 199194"/>
                <a:gd name="connsiteX57" fmla="*/ 15365 w 199194"/>
                <a:gd name="connsiteY57" fmla="*/ 104157 h 199194"/>
                <a:gd name="connsiteX58" fmla="*/ 39948 w 199194"/>
                <a:gd name="connsiteY58" fmla="*/ 159110 h 199194"/>
                <a:gd name="connsiteX59" fmla="*/ 42074 w 199194"/>
                <a:gd name="connsiteY59" fmla="*/ 161120 h 199194"/>
                <a:gd name="connsiteX60" fmla="*/ 53736 w 199194"/>
                <a:gd name="connsiteY60" fmla="*/ 153713 h 199194"/>
                <a:gd name="connsiteX61" fmla="*/ 44438 w 199194"/>
                <a:gd name="connsiteY61" fmla="*/ 104157 h 199194"/>
                <a:gd name="connsiteX62" fmla="*/ 49242 w 199194"/>
                <a:gd name="connsiteY62" fmla="*/ 167187 h 199194"/>
                <a:gd name="connsiteX63" fmla="*/ 49242 w 199194"/>
                <a:gd name="connsiteY63" fmla="*/ 167187 h 199194"/>
                <a:gd name="connsiteX64" fmla="*/ 66419 w 199194"/>
                <a:gd name="connsiteY64" fmla="*/ 177034 h 199194"/>
                <a:gd name="connsiteX65" fmla="*/ 59723 w 199194"/>
                <a:gd name="connsiteY65" fmla="*/ 166755 h 199194"/>
                <a:gd name="connsiteX66" fmla="*/ 57358 w 199194"/>
                <a:gd name="connsiteY66" fmla="*/ 162104 h 199194"/>
                <a:gd name="connsiteX67" fmla="*/ 49242 w 199194"/>
                <a:gd name="connsiteY67" fmla="*/ 167187 h 199194"/>
                <a:gd name="connsiteX68" fmla="*/ 104080 w 199194"/>
                <a:gd name="connsiteY68" fmla="*/ 183693 h 199194"/>
                <a:gd name="connsiteX69" fmla="*/ 104080 w 199194"/>
                <a:gd name="connsiteY69" fmla="*/ 183693 h 199194"/>
                <a:gd name="connsiteX70" fmla="*/ 113378 w 199194"/>
                <a:gd name="connsiteY70" fmla="*/ 182670 h 199194"/>
                <a:gd name="connsiteX71" fmla="*/ 131260 w 199194"/>
                <a:gd name="connsiteY71" fmla="*/ 162342 h 199194"/>
                <a:gd name="connsiteX72" fmla="*/ 133390 w 199194"/>
                <a:gd name="connsiteY72" fmla="*/ 158126 h 199194"/>
                <a:gd name="connsiteX73" fmla="*/ 129921 w 199194"/>
                <a:gd name="connsiteY73" fmla="*/ 156787 h 199194"/>
                <a:gd name="connsiteX74" fmla="*/ 104079 w 199194"/>
                <a:gd name="connsiteY74" fmla="*/ 151430 h 199194"/>
                <a:gd name="connsiteX75" fmla="*/ 104080 w 199194"/>
                <a:gd name="connsiteY75" fmla="*/ 183693 h 199194"/>
                <a:gd name="connsiteX76" fmla="*/ 132600 w 199194"/>
                <a:gd name="connsiteY76" fmla="*/ 177034 h 199194"/>
                <a:gd name="connsiteX77" fmla="*/ 132600 w 199194"/>
                <a:gd name="connsiteY77" fmla="*/ 177034 h 199194"/>
                <a:gd name="connsiteX78" fmla="*/ 149700 w 199194"/>
                <a:gd name="connsiteY78" fmla="*/ 167187 h 199194"/>
                <a:gd name="connsiteX79" fmla="*/ 141663 w 199194"/>
                <a:gd name="connsiteY79" fmla="*/ 162104 h 199194"/>
                <a:gd name="connsiteX80" fmla="*/ 139300 w 199194"/>
                <a:gd name="connsiteY80" fmla="*/ 166755 h 199194"/>
                <a:gd name="connsiteX81" fmla="*/ 132600 w 199194"/>
                <a:gd name="connsiteY81" fmla="*/ 177034 h 199194"/>
                <a:gd name="connsiteX82" fmla="*/ 156948 w 199194"/>
                <a:gd name="connsiteY82" fmla="*/ 161120 h 199194"/>
                <a:gd name="connsiteX83" fmla="*/ 156948 w 199194"/>
                <a:gd name="connsiteY83" fmla="*/ 161120 h 199194"/>
                <a:gd name="connsiteX84" fmla="*/ 159074 w 199194"/>
                <a:gd name="connsiteY84" fmla="*/ 159110 h 199194"/>
                <a:gd name="connsiteX85" fmla="*/ 183657 w 199194"/>
                <a:gd name="connsiteY85" fmla="*/ 104157 h 199194"/>
                <a:gd name="connsiteX86" fmla="*/ 154582 w 199194"/>
                <a:gd name="connsiteY86" fmla="*/ 104157 h 199194"/>
                <a:gd name="connsiteX87" fmla="*/ 145285 w 199194"/>
                <a:gd name="connsiteY87" fmla="*/ 153714 h 199194"/>
                <a:gd name="connsiteX88" fmla="*/ 156946 w 199194"/>
                <a:gd name="connsiteY88" fmla="*/ 161120 h 199194"/>
                <a:gd name="connsiteX89" fmla="*/ 137012 w 199194"/>
                <a:gd name="connsiteY89" fmla="*/ 49440 h 199194"/>
                <a:gd name="connsiteX90" fmla="*/ 137012 w 199194"/>
                <a:gd name="connsiteY90" fmla="*/ 49440 h 199194"/>
                <a:gd name="connsiteX91" fmla="*/ 133152 w 199194"/>
                <a:gd name="connsiteY91" fmla="*/ 50937 h 199194"/>
                <a:gd name="connsiteX92" fmla="*/ 104080 w 199194"/>
                <a:gd name="connsiteY92" fmla="*/ 56882 h 199194"/>
                <a:gd name="connsiteX93" fmla="*/ 104080 w 199194"/>
                <a:gd name="connsiteY93" fmla="*/ 94982 h 199194"/>
                <a:gd name="connsiteX94" fmla="*/ 145367 w 199194"/>
                <a:gd name="connsiteY94" fmla="*/ 94982 h 199194"/>
                <a:gd name="connsiteX95" fmla="*/ 137013 w 199194"/>
                <a:gd name="connsiteY95" fmla="*/ 49443 h 199194"/>
                <a:gd name="connsiteX96" fmla="*/ 94942 w 199194"/>
                <a:gd name="connsiteY96" fmla="*/ 56882 h 199194"/>
                <a:gd name="connsiteX97" fmla="*/ 94942 w 199194"/>
                <a:gd name="connsiteY97" fmla="*/ 56882 h 199194"/>
                <a:gd name="connsiteX98" fmla="*/ 65866 w 199194"/>
                <a:gd name="connsiteY98" fmla="*/ 50937 h 199194"/>
                <a:gd name="connsiteX99" fmla="*/ 62006 w 199194"/>
                <a:gd name="connsiteY99" fmla="*/ 49440 h 199194"/>
                <a:gd name="connsiteX100" fmla="*/ 53578 w 199194"/>
                <a:gd name="connsiteY100" fmla="*/ 94980 h 199194"/>
                <a:gd name="connsiteX101" fmla="*/ 94942 w 199194"/>
                <a:gd name="connsiteY101" fmla="*/ 94980 h 199194"/>
                <a:gd name="connsiteX102" fmla="*/ 94942 w 199194"/>
                <a:gd name="connsiteY102" fmla="*/ 56880 h 199194"/>
                <a:gd name="connsiteX103" fmla="*/ 94942 w 199194"/>
                <a:gd name="connsiteY103" fmla="*/ 142249 h 199194"/>
                <a:gd name="connsiteX104" fmla="*/ 94942 w 199194"/>
                <a:gd name="connsiteY104" fmla="*/ 142249 h 199194"/>
                <a:gd name="connsiteX105" fmla="*/ 94942 w 199194"/>
                <a:gd name="connsiteY105" fmla="*/ 104157 h 199194"/>
                <a:gd name="connsiteX106" fmla="*/ 53578 w 199194"/>
                <a:gd name="connsiteY106" fmla="*/ 104157 h 199194"/>
                <a:gd name="connsiteX107" fmla="*/ 62006 w 199194"/>
                <a:gd name="connsiteY107" fmla="*/ 149696 h 199194"/>
                <a:gd name="connsiteX108" fmla="*/ 65866 w 199194"/>
                <a:gd name="connsiteY108" fmla="*/ 148200 h 199194"/>
                <a:gd name="connsiteX109" fmla="*/ 94943 w 199194"/>
                <a:gd name="connsiteY109" fmla="*/ 142249 h 199194"/>
                <a:gd name="connsiteX110" fmla="*/ 104080 w 199194"/>
                <a:gd name="connsiteY110" fmla="*/ 142249 h 199194"/>
                <a:gd name="connsiteX111" fmla="*/ 104080 w 199194"/>
                <a:gd name="connsiteY111" fmla="*/ 142249 h 199194"/>
                <a:gd name="connsiteX112" fmla="*/ 133152 w 199194"/>
                <a:gd name="connsiteY112" fmla="*/ 148199 h 199194"/>
                <a:gd name="connsiteX113" fmla="*/ 136936 w 199194"/>
                <a:gd name="connsiteY113" fmla="*/ 149696 h 199194"/>
                <a:gd name="connsiteX114" fmla="*/ 145366 w 199194"/>
                <a:gd name="connsiteY114" fmla="*/ 104157 h 199194"/>
                <a:gd name="connsiteX115" fmla="*/ 104080 w 199194"/>
                <a:gd name="connsiteY115" fmla="*/ 104157 h 199194"/>
                <a:gd name="connsiteX116" fmla="*/ 104080 w 199194"/>
                <a:gd name="connsiteY116" fmla="*/ 142252 h 199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</a:cxnLst>
              <a:rect l="l" t="t" r="r" b="b"/>
              <a:pathLst>
                <a:path w="199194" h="199194">
                  <a:moveTo>
                    <a:pt x="99509" y="0"/>
                  </a:moveTo>
                  <a:cubicBezTo>
                    <a:pt x="154514" y="-49"/>
                    <a:pt x="199145" y="44503"/>
                    <a:pt x="199194" y="99509"/>
                  </a:cubicBezTo>
                  <a:cubicBezTo>
                    <a:pt x="199243" y="154515"/>
                    <a:pt x="154692" y="199146"/>
                    <a:pt x="99686" y="199194"/>
                  </a:cubicBezTo>
                  <a:cubicBezTo>
                    <a:pt x="44680" y="199243"/>
                    <a:pt x="49" y="154692"/>
                    <a:pt x="0" y="99686"/>
                  </a:cubicBezTo>
                  <a:cubicBezTo>
                    <a:pt x="-23" y="73249"/>
                    <a:pt x="10465" y="47888"/>
                    <a:pt x="29153" y="29189"/>
                  </a:cubicBezTo>
                  <a:cubicBezTo>
                    <a:pt x="47792" y="10492"/>
                    <a:pt x="73109" y="-11"/>
                    <a:pt x="99509" y="0"/>
                  </a:cubicBezTo>
                  <a:close/>
                  <a:moveTo>
                    <a:pt x="94942" y="183693"/>
                  </a:moveTo>
                  <a:lnTo>
                    <a:pt x="94942" y="183693"/>
                  </a:lnTo>
                  <a:lnTo>
                    <a:pt x="94942" y="151430"/>
                  </a:lnTo>
                  <a:cubicBezTo>
                    <a:pt x="86101" y="151867"/>
                    <a:pt x="77383" y="153674"/>
                    <a:pt x="69097" y="156787"/>
                  </a:cubicBezTo>
                  <a:cubicBezTo>
                    <a:pt x="67915" y="157183"/>
                    <a:pt x="66734" y="157654"/>
                    <a:pt x="65632" y="158126"/>
                  </a:cubicBezTo>
                  <a:cubicBezTo>
                    <a:pt x="66341" y="159583"/>
                    <a:pt x="67048" y="160962"/>
                    <a:pt x="67758" y="162342"/>
                  </a:cubicBezTo>
                  <a:cubicBezTo>
                    <a:pt x="71895" y="170528"/>
                    <a:pt x="78051" y="177524"/>
                    <a:pt x="85644" y="182670"/>
                  </a:cubicBezTo>
                  <a:cubicBezTo>
                    <a:pt x="88723" y="183179"/>
                    <a:pt x="91826" y="183521"/>
                    <a:pt x="94942" y="183693"/>
                  </a:cubicBezTo>
                  <a:close/>
                  <a:moveTo>
                    <a:pt x="159074" y="39984"/>
                  </a:moveTo>
                  <a:lnTo>
                    <a:pt x="159074" y="39984"/>
                  </a:lnTo>
                  <a:cubicBezTo>
                    <a:pt x="158364" y="39314"/>
                    <a:pt x="157656" y="38645"/>
                    <a:pt x="156948" y="37975"/>
                  </a:cubicBezTo>
                  <a:cubicBezTo>
                    <a:pt x="153260" y="40768"/>
                    <a:pt x="149361" y="43269"/>
                    <a:pt x="145287" y="45458"/>
                  </a:cubicBezTo>
                  <a:cubicBezTo>
                    <a:pt x="151141" y="61327"/>
                    <a:pt x="154284" y="78068"/>
                    <a:pt x="154584" y="94980"/>
                  </a:cubicBezTo>
                  <a:lnTo>
                    <a:pt x="183657" y="94980"/>
                  </a:lnTo>
                  <a:cubicBezTo>
                    <a:pt x="182496" y="74250"/>
                    <a:pt x="173746" y="54674"/>
                    <a:pt x="159074" y="39984"/>
                  </a:cubicBezTo>
                  <a:close/>
                  <a:moveTo>
                    <a:pt x="149700" y="31949"/>
                  </a:moveTo>
                  <a:lnTo>
                    <a:pt x="149700" y="31949"/>
                  </a:lnTo>
                  <a:cubicBezTo>
                    <a:pt x="144410" y="27989"/>
                    <a:pt x="138670" y="24669"/>
                    <a:pt x="132600" y="22058"/>
                  </a:cubicBezTo>
                  <a:cubicBezTo>
                    <a:pt x="135048" y="25355"/>
                    <a:pt x="137286" y="28802"/>
                    <a:pt x="139300" y="32380"/>
                  </a:cubicBezTo>
                  <a:cubicBezTo>
                    <a:pt x="140086" y="33877"/>
                    <a:pt x="140873" y="35414"/>
                    <a:pt x="141663" y="36991"/>
                  </a:cubicBezTo>
                  <a:cubicBezTo>
                    <a:pt x="144419" y="35454"/>
                    <a:pt x="147092" y="33760"/>
                    <a:pt x="149700" y="31949"/>
                  </a:cubicBezTo>
                  <a:close/>
                  <a:moveTo>
                    <a:pt x="113378" y="16467"/>
                  </a:moveTo>
                  <a:lnTo>
                    <a:pt x="113378" y="16467"/>
                  </a:lnTo>
                  <a:cubicBezTo>
                    <a:pt x="110299" y="15961"/>
                    <a:pt x="107195" y="15619"/>
                    <a:pt x="104080" y="15442"/>
                  </a:cubicBezTo>
                  <a:lnTo>
                    <a:pt x="104080" y="47705"/>
                  </a:lnTo>
                  <a:cubicBezTo>
                    <a:pt x="112916" y="47249"/>
                    <a:pt x="121632" y="45443"/>
                    <a:pt x="129921" y="42348"/>
                  </a:cubicBezTo>
                  <a:cubicBezTo>
                    <a:pt x="131103" y="41953"/>
                    <a:pt x="132285" y="41481"/>
                    <a:pt x="133390" y="41009"/>
                  </a:cubicBezTo>
                  <a:cubicBezTo>
                    <a:pt x="132680" y="39549"/>
                    <a:pt x="131970" y="38132"/>
                    <a:pt x="131260" y="36793"/>
                  </a:cubicBezTo>
                  <a:cubicBezTo>
                    <a:pt x="127111" y="28616"/>
                    <a:pt x="120960" y="21624"/>
                    <a:pt x="113378" y="16467"/>
                  </a:cubicBezTo>
                  <a:close/>
                  <a:moveTo>
                    <a:pt x="94942" y="15442"/>
                  </a:moveTo>
                  <a:lnTo>
                    <a:pt x="94942" y="15442"/>
                  </a:lnTo>
                  <a:cubicBezTo>
                    <a:pt x="91826" y="15615"/>
                    <a:pt x="88722" y="15957"/>
                    <a:pt x="85644" y="16467"/>
                  </a:cubicBezTo>
                  <a:cubicBezTo>
                    <a:pt x="78041" y="21601"/>
                    <a:pt x="71882" y="28599"/>
                    <a:pt x="67758" y="36793"/>
                  </a:cubicBezTo>
                  <a:cubicBezTo>
                    <a:pt x="67048" y="38132"/>
                    <a:pt x="66341" y="39549"/>
                    <a:pt x="65632" y="41009"/>
                  </a:cubicBezTo>
                  <a:cubicBezTo>
                    <a:pt x="66734" y="41485"/>
                    <a:pt x="67918" y="41953"/>
                    <a:pt x="69097" y="42348"/>
                  </a:cubicBezTo>
                  <a:cubicBezTo>
                    <a:pt x="77388" y="45443"/>
                    <a:pt x="86104" y="47249"/>
                    <a:pt x="94942" y="47705"/>
                  </a:cubicBezTo>
                  <a:lnTo>
                    <a:pt x="94942" y="15442"/>
                  </a:lnTo>
                  <a:close/>
                  <a:moveTo>
                    <a:pt x="66419" y="22058"/>
                  </a:moveTo>
                  <a:lnTo>
                    <a:pt x="66419" y="22058"/>
                  </a:lnTo>
                  <a:cubicBezTo>
                    <a:pt x="60334" y="24687"/>
                    <a:pt x="54571" y="28006"/>
                    <a:pt x="49242" y="31949"/>
                  </a:cubicBezTo>
                  <a:cubicBezTo>
                    <a:pt x="51843" y="33759"/>
                    <a:pt x="54603" y="35454"/>
                    <a:pt x="57358" y="36991"/>
                  </a:cubicBezTo>
                  <a:cubicBezTo>
                    <a:pt x="58145" y="35414"/>
                    <a:pt x="58933" y="33877"/>
                    <a:pt x="59723" y="32380"/>
                  </a:cubicBezTo>
                  <a:cubicBezTo>
                    <a:pt x="61733" y="28801"/>
                    <a:pt x="63970" y="25353"/>
                    <a:pt x="66419" y="22058"/>
                  </a:cubicBezTo>
                  <a:close/>
                  <a:moveTo>
                    <a:pt x="42074" y="37975"/>
                  </a:moveTo>
                  <a:lnTo>
                    <a:pt x="42074" y="37975"/>
                  </a:lnTo>
                  <a:cubicBezTo>
                    <a:pt x="41364" y="38645"/>
                    <a:pt x="40655" y="39315"/>
                    <a:pt x="39948" y="39984"/>
                  </a:cubicBezTo>
                  <a:cubicBezTo>
                    <a:pt x="25247" y="54654"/>
                    <a:pt x="16490" y="74242"/>
                    <a:pt x="15365" y="94980"/>
                  </a:cubicBezTo>
                  <a:lnTo>
                    <a:pt x="44438" y="94980"/>
                  </a:lnTo>
                  <a:cubicBezTo>
                    <a:pt x="44736" y="78068"/>
                    <a:pt x="47880" y="61327"/>
                    <a:pt x="53736" y="45458"/>
                  </a:cubicBezTo>
                  <a:cubicBezTo>
                    <a:pt x="49660" y="43271"/>
                    <a:pt x="45761" y="40769"/>
                    <a:pt x="42074" y="37975"/>
                  </a:cubicBezTo>
                  <a:close/>
                  <a:moveTo>
                    <a:pt x="15365" y="104157"/>
                  </a:moveTo>
                  <a:lnTo>
                    <a:pt x="15365" y="104157"/>
                  </a:lnTo>
                  <a:cubicBezTo>
                    <a:pt x="16483" y="124884"/>
                    <a:pt x="25241" y="144462"/>
                    <a:pt x="39948" y="159110"/>
                  </a:cubicBezTo>
                  <a:lnTo>
                    <a:pt x="42074" y="161120"/>
                  </a:lnTo>
                  <a:cubicBezTo>
                    <a:pt x="45771" y="158364"/>
                    <a:pt x="49669" y="155888"/>
                    <a:pt x="53736" y="153713"/>
                  </a:cubicBezTo>
                  <a:cubicBezTo>
                    <a:pt x="47887" y="137831"/>
                    <a:pt x="44744" y="121079"/>
                    <a:pt x="44438" y="104157"/>
                  </a:cubicBezTo>
                  <a:close/>
                  <a:moveTo>
                    <a:pt x="49242" y="167187"/>
                  </a:moveTo>
                  <a:lnTo>
                    <a:pt x="49242" y="167187"/>
                  </a:lnTo>
                  <a:cubicBezTo>
                    <a:pt x="54561" y="171132"/>
                    <a:pt x="60327" y="174437"/>
                    <a:pt x="66419" y="177034"/>
                  </a:cubicBezTo>
                  <a:cubicBezTo>
                    <a:pt x="63961" y="173760"/>
                    <a:pt x="61724" y="170326"/>
                    <a:pt x="59723" y="166755"/>
                  </a:cubicBezTo>
                  <a:cubicBezTo>
                    <a:pt x="58936" y="165259"/>
                    <a:pt x="58145" y="163721"/>
                    <a:pt x="57358" y="162104"/>
                  </a:cubicBezTo>
                  <a:cubicBezTo>
                    <a:pt x="54603" y="163681"/>
                    <a:pt x="51843" y="165376"/>
                    <a:pt x="49242" y="167187"/>
                  </a:cubicBezTo>
                  <a:close/>
                  <a:moveTo>
                    <a:pt x="104080" y="183693"/>
                  </a:moveTo>
                  <a:lnTo>
                    <a:pt x="104080" y="183693"/>
                  </a:lnTo>
                  <a:cubicBezTo>
                    <a:pt x="107195" y="183516"/>
                    <a:pt x="110299" y="183174"/>
                    <a:pt x="113378" y="182670"/>
                  </a:cubicBezTo>
                  <a:cubicBezTo>
                    <a:pt x="120950" y="177501"/>
                    <a:pt x="127099" y="170511"/>
                    <a:pt x="131260" y="162342"/>
                  </a:cubicBezTo>
                  <a:cubicBezTo>
                    <a:pt x="131970" y="160962"/>
                    <a:pt x="132680" y="159580"/>
                    <a:pt x="133390" y="158126"/>
                  </a:cubicBezTo>
                  <a:cubicBezTo>
                    <a:pt x="132285" y="157650"/>
                    <a:pt x="131104" y="157183"/>
                    <a:pt x="129921" y="156787"/>
                  </a:cubicBezTo>
                  <a:cubicBezTo>
                    <a:pt x="121636" y="153674"/>
                    <a:pt x="112919" y="151867"/>
                    <a:pt x="104079" y="151430"/>
                  </a:cubicBezTo>
                  <a:lnTo>
                    <a:pt x="104080" y="183693"/>
                  </a:lnTo>
                  <a:close/>
                  <a:moveTo>
                    <a:pt x="132600" y="177034"/>
                  </a:moveTo>
                  <a:lnTo>
                    <a:pt x="132600" y="177034"/>
                  </a:lnTo>
                  <a:cubicBezTo>
                    <a:pt x="138677" y="174456"/>
                    <a:pt x="144419" y="171149"/>
                    <a:pt x="149700" y="167187"/>
                  </a:cubicBezTo>
                  <a:cubicBezTo>
                    <a:pt x="147097" y="165335"/>
                    <a:pt x="144419" y="163681"/>
                    <a:pt x="141663" y="162104"/>
                  </a:cubicBezTo>
                  <a:cubicBezTo>
                    <a:pt x="140873" y="163723"/>
                    <a:pt x="140086" y="165259"/>
                    <a:pt x="139300" y="166755"/>
                  </a:cubicBezTo>
                  <a:cubicBezTo>
                    <a:pt x="137295" y="170325"/>
                    <a:pt x="135057" y="173758"/>
                    <a:pt x="132600" y="177034"/>
                  </a:cubicBezTo>
                  <a:close/>
                  <a:moveTo>
                    <a:pt x="156948" y="161120"/>
                  </a:moveTo>
                  <a:lnTo>
                    <a:pt x="156948" y="161120"/>
                  </a:lnTo>
                  <a:lnTo>
                    <a:pt x="159074" y="159110"/>
                  </a:lnTo>
                  <a:cubicBezTo>
                    <a:pt x="173752" y="144442"/>
                    <a:pt x="182505" y="124876"/>
                    <a:pt x="183657" y="104157"/>
                  </a:cubicBezTo>
                  <a:lnTo>
                    <a:pt x="154582" y="104157"/>
                  </a:lnTo>
                  <a:cubicBezTo>
                    <a:pt x="154274" y="121079"/>
                    <a:pt x="151132" y="137830"/>
                    <a:pt x="145285" y="153714"/>
                  </a:cubicBezTo>
                  <a:cubicBezTo>
                    <a:pt x="149350" y="155890"/>
                    <a:pt x="153248" y="158365"/>
                    <a:pt x="156946" y="161120"/>
                  </a:cubicBezTo>
                  <a:close/>
                  <a:moveTo>
                    <a:pt x="137012" y="49440"/>
                  </a:moveTo>
                  <a:lnTo>
                    <a:pt x="137012" y="49440"/>
                  </a:lnTo>
                  <a:cubicBezTo>
                    <a:pt x="135754" y="49952"/>
                    <a:pt x="134491" y="50461"/>
                    <a:pt x="133152" y="50937"/>
                  </a:cubicBezTo>
                  <a:cubicBezTo>
                    <a:pt x="123826" y="54408"/>
                    <a:pt x="114019" y="56413"/>
                    <a:pt x="104080" y="56882"/>
                  </a:cubicBezTo>
                  <a:lnTo>
                    <a:pt x="104080" y="94982"/>
                  </a:lnTo>
                  <a:lnTo>
                    <a:pt x="145367" y="94982"/>
                  </a:lnTo>
                  <a:cubicBezTo>
                    <a:pt x="145082" y="79449"/>
                    <a:pt x="142260" y="64066"/>
                    <a:pt x="137013" y="49443"/>
                  </a:cubicBezTo>
                  <a:close/>
                  <a:moveTo>
                    <a:pt x="94942" y="56882"/>
                  </a:moveTo>
                  <a:lnTo>
                    <a:pt x="94942" y="56882"/>
                  </a:lnTo>
                  <a:cubicBezTo>
                    <a:pt x="85001" y="56413"/>
                    <a:pt x="75193" y="54407"/>
                    <a:pt x="65866" y="50937"/>
                  </a:cubicBezTo>
                  <a:cubicBezTo>
                    <a:pt x="64607" y="50461"/>
                    <a:pt x="63268" y="49952"/>
                    <a:pt x="62006" y="49440"/>
                  </a:cubicBezTo>
                  <a:cubicBezTo>
                    <a:pt x="56768" y="64068"/>
                    <a:pt x="53922" y="79445"/>
                    <a:pt x="53578" y="94980"/>
                  </a:cubicBezTo>
                  <a:lnTo>
                    <a:pt x="94942" y="94980"/>
                  </a:lnTo>
                  <a:lnTo>
                    <a:pt x="94942" y="56880"/>
                  </a:lnTo>
                  <a:close/>
                  <a:moveTo>
                    <a:pt x="94942" y="142249"/>
                  </a:moveTo>
                  <a:lnTo>
                    <a:pt x="94942" y="142249"/>
                  </a:lnTo>
                  <a:lnTo>
                    <a:pt x="94942" y="104157"/>
                  </a:lnTo>
                  <a:lnTo>
                    <a:pt x="53578" y="104157"/>
                  </a:lnTo>
                  <a:cubicBezTo>
                    <a:pt x="53923" y="119691"/>
                    <a:pt x="56769" y="135067"/>
                    <a:pt x="62006" y="149696"/>
                  </a:cubicBezTo>
                  <a:cubicBezTo>
                    <a:pt x="63345" y="149184"/>
                    <a:pt x="64607" y="148671"/>
                    <a:pt x="65866" y="148200"/>
                  </a:cubicBezTo>
                  <a:cubicBezTo>
                    <a:pt x="75188" y="144710"/>
                    <a:pt x="84999" y="142702"/>
                    <a:pt x="94943" y="142249"/>
                  </a:cubicBezTo>
                  <a:close/>
                  <a:moveTo>
                    <a:pt x="104080" y="142249"/>
                  </a:moveTo>
                  <a:lnTo>
                    <a:pt x="104080" y="142249"/>
                  </a:lnTo>
                  <a:cubicBezTo>
                    <a:pt x="114022" y="142702"/>
                    <a:pt x="123831" y="144710"/>
                    <a:pt x="133152" y="148199"/>
                  </a:cubicBezTo>
                  <a:cubicBezTo>
                    <a:pt x="134415" y="148671"/>
                    <a:pt x="135754" y="149184"/>
                    <a:pt x="136936" y="149696"/>
                  </a:cubicBezTo>
                  <a:cubicBezTo>
                    <a:pt x="142246" y="135087"/>
                    <a:pt x="145095" y="119698"/>
                    <a:pt x="145366" y="104157"/>
                  </a:cubicBezTo>
                  <a:lnTo>
                    <a:pt x="104080" y="104157"/>
                  </a:lnTo>
                  <a:lnTo>
                    <a:pt x="104080" y="142252"/>
                  </a:lnTo>
                  <a:close/>
                </a:path>
              </a:pathLst>
            </a:custGeom>
            <a:solidFill>
              <a:srgbClr val="C6C6C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</p:grpSp>
      <p:grpSp>
        <p:nvGrpSpPr>
          <p:cNvPr id="68" name="Gruppieren 67"/>
          <p:cNvGrpSpPr/>
          <p:nvPr/>
        </p:nvGrpSpPr>
        <p:grpSpPr>
          <a:xfrm>
            <a:off x="4821810" y="2279779"/>
            <a:ext cx="648000" cy="648000"/>
            <a:chOff x="7785990" y="2489744"/>
            <a:chExt cx="408357" cy="408357"/>
          </a:xfrm>
        </p:grpSpPr>
        <p:sp>
          <p:nvSpPr>
            <p:cNvPr id="24" name="Freeform: Shape 374">
              <a:extLst>
                <a:ext uri="{FF2B5EF4-FFF2-40B4-BE49-F238E27FC236}">
                  <a16:creationId xmlns:a16="http://schemas.microsoft.com/office/drawing/2014/main" id="{4940B74F-2D91-4C50-85F6-16E4769F493C}"/>
                </a:ext>
              </a:extLst>
            </p:cNvPr>
            <p:cNvSpPr/>
            <p:nvPr/>
          </p:nvSpPr>
          <p:spPr>
            <a:xfrm>
              <a:off x="7785990" y="2489744"/>
              <a:ext cx="408357" cy="408357"/>
            </a:xfrm>
            <a:custGeom>
              <a:avLst/>
              <a:gdLst>
                <a:gd name="connsiteX0" fmla="*/ 0 w 306268"/>
                <a:gd name="connsiteY0" fmla="*/ 0 h 306268"/>
                <a:gd name="connsiteX1" fmla="*/ 306269 w 306268"/>
                <a:gd name="connsiteY1" fmla="*/ 0 h 306268"/>
                <a:gd name="connsiteX2" fmla="*/ 306269 w 306268"/>
                <a:gd name="connsiteY2" fmla="*/ 306269 h 306268"/>
                <a:gd name="connsiteX3" fmla="*/ 0 w 306268"/>
                <a:gd name="connsiteY3" fmla="*/ 306269 h 3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268" h="306268">
                  <a:moveTo>
                    <a:pt x="0" y="0"/>
                  </a:moveTo>
                  <a:lnTo>
                    <a:pt x="306269" y="0"/>
                  </a:lnTo>
                  <a:lnTo>
                    <a:pt x="306269" y="306269"/>
                  </a:lnTo>
                  <a:lnTo>
                    <a:pt x="0" y="306269"/>
                  </a:lnTo>
                  <a:close/>
                </a:path>
              </a:pathLst>
            </a:custGeom>
            <a:noFill/>
            <a:ln w="19050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25" name="Freeform: Shape 375">
              <a:extLst>
                <a:ext uri="{FF2B5EF4-FFF2-40B4-BE49-F238E27FC236}">
                  <a16:creationId xmlns:a16="http://schemas.microsoft.com/office/drawing/2014/main" id="{14D0997A-9257-4B14-8C8F-0FC6567A3872}"/>
                </a:ext>
              </a:extLst>
            </p:cNvPr>
            <p:cNvSpPr/>
            <p:nvPr/>
          </p:nvSpPr>
          <p:spPr>
            <a:xfrm>
              <a:off x="7863774" y="2598041"/>
              <a:ext cx="252787" cy="191757"/>
            </a:xfrm>
            <a:custGeom>
              <a:avLst/>
              <a:gdLst>
                <a:gd name="connsiteX0" fmla="*/ 8569 w 189590"/>
                <a:gd name="connsiteY0" fmla="*/ 13392 h 143818"/>
                <a:gd name="connsiteX1" fmla="*/ 36082 w 189590"/>
                <a:gd name="connsiteY1" fmla="*/ 7017 h 143818"/>
                <a:gd name="connsiteX2" fmla="*/ 94783 w 189590"/>
                <a:gd name="connsiteY2" fmla="*/ 11896 h 143818"/>
                <a:gd name="connsiteX3" fmla="*/ 153524 w 189590"/>
                <a:gd name="connsiteY3" fmla="*/ 7017 h 143818"/>
                <a:gd name="connsiteX4" fmla="*/ 181659 w 189590"/>
                <a:gd name="connsiteY4" fmla="*/ 13320 h 143818"/>
                <a:gd name="connsiteX5" fmla="*/ 189533 w 189590"/>
                <a:gd name="connsiteY5" fmla="*/ 19922 h 143818"/>
                <a:gd name="connsiteX6" fmla="*/ 189552 w 189590"/>
                <a:gd name="connsiteY6" fmla="*/ 20559 h 143818"/>
                <a:gd name="connsiteX7" fmla="*/ 189590 w 189590"/>
                <a:gd name="connsiteY7" fmla="*/ 20559 h 143818"/>
                <a:gd name="connsiteX8" fmla="*/ 189590 w 189590"/>
                <a:gd name="connsiteY8" fmla="*/ 136383 h 143818"/>
                <a:gd name="connsiteX9" fmla="*/ 182368 w 189590"/>
                <a:gd name="connsiteY9" fmla="*/ 143658 h 143818"/>
                <a:gd name="connsiteX10" fmla="*/ 182366 w 189590"/>
                <a:gd name="connsiteY10" fmla="*/ 143658 h 143818"/>
                <a:gd name="connsiteX11" fmla="*/ 182240 w 189590"/>
                <a:gd name="connsiteY11" fmla="*/ 143658 h 143818"/>
                <a:gd name="connsiteX12" fmla="*/ 147544 w 189590"/>
                <a:gd name="connsiteY12" fmla="*/ 136122 h 143818"/>
                <a:gd name="connsiteX13" fmla="*/ 98817 w 189590"/>
                <a:gd name="connsiteY13" fmla="*/ 142460 h 143818"/>
                <a:gd name="connsiteX14" fmla="*/ 90790 w 189590"/>
                <a:gd name="connsiteY14" fmla="*/ 142460 h 143818"/>
                <a:gd name="connsiteX15" fmla="*/ 42066 w 189590"/>
                <a:gd name="connsiteY15" fmla="*/ 136122 h 143818"/>
                <a:gd name="connsiteX16" fmla="*/ 6676 w 189590"/>
                <a:gd name="connsiteY16" fmla="*/ 143624 h 143818"/>
                <a:gd name="connsiteX17" fmla="*/ 34 w 189590"/>
                <a:gd name="connsiteY17" fmla="*/ 136385 h 143818"/>
                <a:gd name="connsiteX18" fmla="*/ 0 w 189590"/>
                <a:gd name="connsiteY18" fmla="*/ 136385 h 143818"/>
                <a:gd name="connsiteX19" fmla="*/ 0 w 189590"/>
                <a:gd name="connsiteY19" fmla="*/ 20561 h 143818"/>
                <a:gd name="connsiteX20" fmla="*/ 7294 w 189590"/>
                <a:gd name="connsiteY20" fmla="*/ 13245 h 143818"/>
                <a:gd name="connsiteX21" fmla="*/ 8570 w 189590"/>
                <a:gd name="connsiteY21" fmla="*/ 13395 h 143818"/>
                <a:gd name="connsiteX22" fmla="*/ 166303 w 189590"/>
                <a:gd name="connsiteY22" fmla="*/ 62457 h 143818"/>
                <a:gd name="connsiteX23" fmla="*/ 166303 w 189590"/>
                <a:gd name="connsiteY23" fmla="*/ 62457 h 143818"/>
                <a:gd name="connsiteX24" fmla="*/ 152349 w 189590"/>
                <a:gd name="connsiteY24" fmla="*/ 57130 h 143818"/>
                <a:gd name="connsiteX25" fmla="*/ 110243 w 189590"/>
                <a:gd name="connsiteY25" fmla="*/ 54653 h 143818"/>
                <a:gd name="connsiteX26" fmla="*/ 107821 w 189590"/>
                <a:gd name="connsiteY26" fmla="*/ 60311 h 143818"/>
                <a:gd name="connsiteX27" fmla="*/ 113479 w 189590"/>
                <a:gd name="connsiteY27" fmla="*/ 62734 h 143818"/>
                <a:gd name="connsiteX28" fmla="*/ 113524 w 189590"/>
                <a:gd name="connsiteY28" fmla="*/ 62715 h 143818"/>
                <a:gd name="connsiteX29" fmla="*/ 148726 w 189590"/>
                <a:gd name="connsiteY29" fmla="*/ 65117 h 143818"/>
                <a:gd name="connsiteX30" fmla="*/ 164144 w 189590"/>
                <a:gd name="connsiteY30" fmla="*/ 70927 h 143818"/>
                <a:gd name="connsiteX31" fmla="*/ 169474 w 189590"/>
                <a:gd name="connsiteY31" fmla="*/ 67787 h 143818"/>
                <a:gd name="connsiteX32" fmla="*/ 166333 w 189590"/>
                <a:gd name="connsiteY32" fmla="*/ 62458 h 143818"/>
                <a:gd name="connsiteX33" fmla="*/ 166303 w 189590"/>
                <a:gd name="connsiteY33" fmla="*/ 62450 h 143818"/>
                <a:gd name="connsiteX34" fmla="*/ 166303 w 189590"/>
                <a:gd name="connsiteY34" fmla="*/ 83836 h 143818"/>
                <a:gd name="connsiteX35" fmla="*/ 166303 w 189590"/>
                <a:gd name="connsiteY35" fmla="*/ 83836 h 143818"/>
                <a:gd name="connsiteX36" fmla="*/ 152349 w 189590"/>
                <a:gd name="connsiteY36" fmla="*/ 78548 h 143818"/>
                <a:gd name="connsiteX37" fmla="*/ 110243 w 189590"/>
                <a:gd name="connsiteY37" fmla="*/ 76035 h 143818"/>
                <a:gd name="connsiteX38" fmla="*/ 107906 w 189590"/>
                <a:gd name="connsiteY38" fmla="*/ 81731 h 143818"/>
                <a:gd name="connsiteX39" fmla="*/ 113524 w 189590"/>
                <a:gd name="connsiteY39" fmla="*/ 84101 h 143818"/>
                <a:gd name="connsiteX40" fmla="*/ 148726 w 189590"/>
                <a:gd name="connsiteY40" fmla="*/ 86502 h 143818"/>
                <a:gd name="connsiteX41" fmla="*/ 164145 w 189590"/>
                <a:gd name="connsiteY41" fmla="*/ 92312 h 143818"/>
                <a:gd name="connsiteX42" fmla="*/ 169474 w 189590"/>
                <a:gd name="connsiteY42" fmla="*/ 89172 h 143818"/>
                <a:gd name="connsiteX43" fmla="*/ 166334 w 189590"/>
                <a:gd name="connsiteY43" fmla="*/ 83843 h 143818"/>
                <a:gd name="connsiteX44" fmla="*/ 166303 w 189590"/>
                <a:gd name="connsiteY44" fmla="*/ 83835 h 143818"/>
                <a:gd name="connsiteX45" fmla="*/ 166303 w 189590"/>
                <a:gd name="connsiteY45" fmla="*/ 105253 h 143818"/>
                <a:gd name="connsiteX46" fmla="*/ 166303 w 189590"/>
                <a:gd name="connsiteY46" fmla="*/ 105253 h 143818"/>
                <a:gd name="connsiteX47" fmla="*/ 152349 w 189590"/>
                <a:gd name="connsiteY47" fmla="*/ 99929 h 143818"/>
                <a:gd name="connsiteX48" fmla="*/ 110243 w 189590"/>
                <a:gd name="connsiteY48" fmla="*/ 97412 h 143818"/>
                <a:gd name="connsiteX49" fmla="*/ 107862 w 189590"/>
                <a:gd name="connsiteY49" fmla="*/ 103117 h 143818"/>
                <a:gd name="connsiteX50" fmla="*/ 113470 w 189590"/>
                <a:gd name="connsiteY50" fmla="*/ 105498 h 143818"/>
                <a:gd name="connsiteX51" fmla="*/ 113524 w 189590"/>
                <a:gd name="connsiteY51" fmla="*/ 105475 h 143818"/>
                <a:gd name="connsiteX52" fmla="*/ 148726 w 189590"/>
                <a:gd name="connsiteY52" fmla="*/ 107876 h 143818"/>
                <a:gd name="connsiteX53" fmla="*/ 164145 w 189590"/>
                <a:gd name="connsiteY53" fmla="*/ 113730 h 143818"/>
                <a:gd name="connsiteX54" fmla="*/ 169472 w 189590"/>
                <a:gd name="connsiteY54" fmla="*/ 110538 h 143818"/>
                <a:gd name="connsiteX55" fmla="*/ 166341 w 189590"/>
                <a:gd name="connsiteY55" fmla="*/ 105259 h 143818"/>
                <a:gd name="connsiteX56" fmla="*/ 166303 w 189590"/>
                <a:gd name="connsiteY56" fmla="*/ 105249 h 143818"/>
                <a:gd name="connsiteX57" fmla="*/ 166303 w 189590"/>
                <a:gd name="connsiteY57" fmla="*/ 41074 h 143818"/>
                <a:gd name="connsiteX58" fmla="*/ 166303 w 189590"/>
                <a:gd name="connsiteY58" fmla="*/ 41074 h 143818"/>
                <a:gd name="connsiteX59" fmla="*/ 152349 w 189590"/>
                <a:gd name="connsiteY59" fmla="*/ 35750 h 143818"/>
                <a:gd name="connsiteX60" fmla="*/ 110243 w 189590"/>
                <a:gd name="connsiteY60" fmla="*/ 33273 h 143818"/>
                <a:gd name="connsiteX61" fmla="*/ 107906 w 189590"/>
                <a:gd name="connsiteY61" fmla="*/ 38970 h 143818"/>
                <a:gd name="connsiteX62" fmla="*/ 113524 w 189590"/>
                <a:gd name="connsiteY62" fmla="*/ 41339 h 143818"/>
                <a:gd name="connsiteX63" fmla="*/ 148726 w 189590"/>
                <a:gd name="connsiteY63" fmla="*/ 43740 h 143818"/>
                <a:gd name="connsiteX64" fmla="*/ 164145 w 189590"/>
                <a:gd name="connsiteY64" fmla="*/ 49555 h 143818"/>
                <a:gd name="connsiteX65" fmla="*/ 169506 w 189590"/>
                <a:gd name="connsiteY65" fmla="*/ 46463 h 143818"/>
                <a:gd name="connsiteX66" fmla="*/ 166415 w 189590"/>
                <a:gd name="connsiteY66" fmla="*/ 41102 h 143818"/>
                <a:gd name="connsiteX67" fmla="*/ 166362 w 189590"/>
                <a:gd name="connsiteY67" fmla="*/ 41089 h 143818"/>
                <a:gd name="connsiteX68" fmla="*/ 166303 w 189590"/>
                <a:gd name="connsiteY68" fmla="*/ 41073 h 143818"/>
                <a:gd name="connsiteX69" fmla="*/ 25435 w 189590"/>
                <a:gd name="connsiteY69" fmla="*/ 70934 h 143818"/>
                <a:gd name="connsiteX70" fmla="*/ 25435 w 189590"/>
                <a:gd name="connsiteY70" fmla="*/ 70934 h 143818"/>
                <a:gd name="connsiteX71" fmla="*/ 40865 w 189590"/>
                <a:gd name="connsiteY71" fmla="*/ 65124 h 143818"/>
                <a:gd name="connsiteX72" fmla="*/ 76068 w 189590"/>
                <a:gd name="connsiteY72" fmla="*/ 62723 h 143818"/>
                <a:gd name="connsiteX73" fmla="*/ 81714 w 189590"/>
                <a:gd name="connsiteY73" fmla="*/ 60257 h 143818"/>
                <a:gd name="connsiteX74" fmla="*/ 79371 w 189590"/>
                <a:gd name="connsiteY74" fmla="*/ 54661 h 143818"/>
                <a:gd name="connsiteX75" fmla="*/ 37248 w 189590"/>
                <a:gd name="connsiteY75" fmla="*/ 57137 h 143818"/>
                <a:gd name="connsiteX76" fmla="*/ 23274 w 189590"/>
                <a:gd name="connsiteY76" fmla="*/ 62465 h 143818"/>
                <a:gd name="connsiteX77" fmla="*/ 20095 w 189590"/>
                <a:gd name="connsiteY77" fmla="*/ 67771 h 143818"/>
                <a:gd name="connsiteX78" fmla="*/ 25401 w 189590"/>
                <a:gd name="connsiteY78" fmla="*/ 70950 h 143818"/>
                <a:gd name="connsiteX79" fmla="*/ 25432 w 189590"/>
                <a:gd name="connsiteY79" fmla="*/ 70942 h 143818"/>
                <a:gd name="connsiteX80" fmla="*/ 25435 w 189590"/>
                <a:gd name="connsiteY80" fmla="*/ 92313 h 143818"/>
                <a:gd name="connsiteX81" fmla="*/ 25435 w 189590"/>
                <a:gd name="connsiteY81" fmla="*/ 92313 h 143818"/>
                <a:gd name="connsiteX82" fmla="*/ 40865 w 189590"/>
                <a:gd name="connsiteY82" fmla="*/ 86503 h 143818"/>
                <a:gd name="connsiteX83" fmla="*/ 76068 w 189590"/>
                <a:gd name="connsiteY83" fmla="*/ 84102 h 143818"/>
                <a:gd name="connsiteX84" fmla="*/ 81711 w 189590"/>
                <a:gd name="connsiteY84" fmla="*/ 81622 h 143818"/>
                <a:gd name="connsiteX85" fmla="*/ 79371 w 189590"/>
                <a:gd name="connsiteY85" fmla="*/ 76036 h 143818"/>
                <a:gd name="connsiteX86" fmla="*/ 37248 w 189590"/>
                <a:gd name="connsiteY86" fmla="*/ 78548 h 143818"/>
                <a:gd name="connsiteX87" fmla="*/ 23274 w 189590"/>
                <a:gd name="connsiteY87" fmla="*/ 83837 h 143818"/>
                <a:gd name="connsiteX88" fmla="*/ 20095 w 189590"/>
                <a:gd name="connsiteY88" fmla="*/ 89143 h 143818"/>
                <a:gd name="connsiteX89" fmla="*/ 25401 w 189590"/>
                <a:gd name="connsiteY89" fmla="*/ 92322 h 143818"/>
                <a:gd name="connsiteX90" fmla="*/ 25432 w 189590"/>
                <a:gd name="connsiteY90" fmla="*/ 92314 h 143818"/>
                <a:gd name="connsiteX91" fmla="*/ 25473 w 189590"/>
                <a:gd name="connsiteY91" fmla="*/ 113735 h 143818"/>
                <a:gd name="connsiteX92" fmla="*/ 25473 w 189590"/>
                <a:gd name="connsiteY92" fmla="*/ 113735 h 143818"/>
                <a:gd name="connsiteX93" fmla="*/ 40867 w 189590"/>
                <a:gd name="connsiteY93" fmla="*/ 107881 h 143818"/>
                <a:gd name="connsiteX94" fmla="*/ 76110 w 189590"/>
                <a:gd name="connsiteY94" fmla="*/ 105481 h 143818"/>
                <a:gd name="connsiteX95" fmla="*/ 81739 w 189590"/>
                <a:gd name="connsiteY95" fmla="*/ 103160 h 143818"/>
                <a:gd name="connsiteX96" fmla="*/ 81739 w 189590"/>
                <a:gd name="connsiteY96" fmla="*/ 103160 h 143818"/>
                <a:gd name="connsiteX97" fmla="*/ 81756 w 189590"/>
                <a:gd name="connsiteY97" fmla="*/ 103118 h 143818"/>
                <a:gd name="connsiteX98" fmla="*/ 79375 w 189590"/>
                <a:gd name="connsiteY98" fmla="*/ 97415 h 143818"/>
                <a:gd name="connsiteX99" fmla="*/ 37251 w 189590"/>
                <a:gd name="connsiteY99" fmla="*/ 99931 h 143818"/>
                <a:gd name="connsiteX100" fmla="*/ 23277 w 189590"/>
                <a:gd name="connsiteY100" fmla="*/ 105256 h 143818"/>
                <a:gd name="connsiteX101" fmla="*/ 20128 w 189590"/>
                <a:gd name="connsiteY101" fmla="*/ 110544 h 143818"/>
                <a:gd name="connsiteX102" fmla="*/ 25474 w 189590"/>
                <a:gd name="connsiteY102" fmla="*/ 113736 h 143818"/>
                <a:gd name="connsiteX103" fmla="*/ 25473 w 189590"/>
                <a:gd name="connsiteY103" fmla="*/ 49556 h 143818"/>
                <a:gd name="connsiteX104" fmla="*/ 25473 w 189590"/>
                <a:gd name="connsiteY104" fmla="*/ 49556 h 143818"/>
                <a:gd name="connsiteX105" fmla="*/ 40867 w 189590"/>
                <a:gd name="connsiteY105" fmla="*/ 43741 h 143818"/>
                <a:gd name="connsiteX106" fmla="*/ 76110 w 189590"/>
                <a:gd name="connsiteY106" fmla="*/ 41340 h 143818"/>
                <a:gd name="connsiteX107" fmla="*/ 81751 w 189590"/>
                <a:gd name="connsiteY107" fmla="*/ 38883 h 143818"/>
                <a:gd name="connsiteX108" fmla="*/ 79375 w 189590"/>
                <a:gd name="connsiteY108" fmla="*/ 33274 h 143818"/>
                <a:gd name="connsiteX109" fmla="*/ 37251 w 189590"/>
                <a:gd name="connsiteY109" fmla="*/ 35751 h 143818"/>
                <a:gd name="connsiteX110" fmla="*/ 23278 w 189590"/>
                <a:gd name="connsiteY110" fmla="*/ 41074 h 143818"/>
                <a:gd name="connsiteX111" fmla="*/ 19943 w 189590"/>
                <a:gd name="connsiteY111" fmla="*/ 46297 h 143818"/>
                <a:gd name="connsiteX112" fmla="*/ 25165 w 189590"/>
                <a:gd name="connsiteY112" fmla="*/ 49632 h 143818"/>
                <a:gd name="connsiteX113" fmla="*/ 25474 w 189590"/>
                <a:gd name="connsiteY113" fmla="*/ 49552 h 143818"/>
                <a:gd name="connsiteX114" fmla="*/ 99177 w 189590"/>
                <a:gd name="connsiteY114" fmla="*/ 26373 h 143818"/>
                <a:gd name="connsiteX115" fmla="*/ 99177 w 189590"/>
                <a:gd name="connsiteY115" fmla="*/ 26373 h 143818"/>
                <a:gd name="connsiteX116" fmla="*/ 99177 w 189590"/>
                <a:gd name="connsiteY116" fmla="*/ 125174 h 143818"/>
                <a:gd name="connsiteX117" fmla="*/ 153528 w 189590"/>
                <a:gd name="connsiteY117" fmla="*/ 122851 h 143818"/>
                <a:gd name="connsiteX118" fmla="*/ 175022 w 189590"/>
                <a:gd name="connsiteY118" fmla="*/ 129262 h 143818"/>
                <a:gd name="connsiteX119" fmla="*/ 175022 w 189590"/>
                <a:gd name="connsiteY119" fmla="*/ 27987 h 143818"/>
                <a:gd name="connsiteX120" fmla="*/ 147547 w 189590"/>
                <a:gd name="connsiteY120" fmla="*/ 20298 h 143818"/>
                <a:gd name="connsiteX121" fmla="*/ 99177 w 189590"/>
                <a:gd name="connsiteY121" fmla="*/ 26374 h 143818"/>
                <a:gd name="connsiteX122" fmla="*/ 90439 w 189590"/>
                <a:gd name="connsiteY122" fmla="*/ 125174 h 143818"/>
                <a:gd name="connsiteX123" fmla="*/ 90439 w 189590"/>
                <a:gd name="connsiteY123" fmla="*/ 125174 h 143818"/>
                <a:gd name="connsiteX124" fmla="*/ 90439 w 189590"/>
                <a:gd name="connsiteY124" fmla="*/ 26373 h 143818"/>
                <a:gd name="connsiteX125" fmla="*/ 42070 w 189590"/>
                <a:gd name="connsiteY125" fmla="*/ 20297 h 143818"/>
                <a:gd name="connsiteX126" fmla="*/ 14576 w 189590"/>
                <a:gd name="connsiteY126" fmla="*/ 27985 h 143818"/>
                <a:gd name="connsiteX127" fmla="*/ 14576 w 189590"/>
                <a:gd name="connsiteY127" fmla="*/ 129264 h 143818"/>
                <a:gd name="connsiteX128" fmla="*/ 36086 w 189590"/>
                <a:gd name="connsiteY128" fmla="*/ 122853 h 143818"/>
                <a:gd name="connsiteX129" fmla="*/ 90439 w 189590"/>
                <a:gd name="connsiteY129" fmla="*/ 125176 h 14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189590" h="143818">
                  <a:moveTo>
                    <a:pt x="8569" y="13392"/>
                  </a:moveTo>
                  <a:cubicBezTo>
                    <a:pt x="18150" y="13819"/>
                    <a:pt x="27665" y="11615"/>
                    <a:pt x="36082" y="7017"/>
                  </a:cubicBezTo>
                  <a:cubicBezTo>
                    <a:pt x="54721" y="-3891"/>
                    <a:pt x="78200" y="-1940"/>
                    <a:pt x="94783" y="11896"/>
                  </a:cubicBezTo>
                  <a:cubicBezTo>
                    <a:pt x="111381" y="-1941"/>
                    <a:pt x="134871" y="-3892"/>
                    <a:pt x="153524" y="7017"/>
                  </a:cubicBezTo>
                  <a:cubicBezTo>
                    <a:pt x="162119" y="11731"/>
                    <a:pt x="171874" y="13916"/>
                    <a:pt x="181659" y="13320"/>
                  </a:cubicBezTo>
                  <a:cubicBezTo>
                    <a:pt x="185654" y="12977"/>
                    <a:pt x="189174" y="15929"/>
                    <a:pt x="189533" y="19922"/>
                  </a:cubicBezTo>
                  <a:lnTo>
                    <a:pt x="189552" y="20559"/>
                  </a:lnTo>
                  <a:lnTo>
                    <a:pt x="189590" y="20559"/>
                  </a:lnTo>
                  <a:lnTo>
                    <a:pt x="189590" y="136383"/>
                  </a:lnTo>
                  <a:cubicBezTo>
                    <a:pt x="189605" y="140387"/>
                    <a:pt x="186371" y="143643"/>
                    <a:pt x="182368" y="143658"/>
                  </a:cubicBezTo>
                  <a:cubicBezTo>
                    <a:pt x="182367" y="143658"/>
                    <a:pt x="182366" y="143658"/>
                    <a:pt x="182366" y="143658"/>
                  </a:cubicBezTo>
                  <a:lnTo>
                    <a:pt x="182240" y="143658"/>
                  </a:lnTo>
                  <a:cubicBezTo>
                    <a:pt x="170194" y="144496"/>
                    <a:pt x="158158" y="141882"/>
                    <a:pt x="147544" y="136122"/>
                  </a:cubicBezTo>
                  <a:cubicBezTo>
                    <a:pt x="135314" y="130607"/>
                    <a:pt x="124249" y="125578"/>
                    <a:pt x="98817" y="142460"/>
                  </a:cubicBezTo>
                  <a:cubicBezTo>
                    <a:pt x="96384" y="144073"/>
                    <a:pt x="93223" y="144073"/>
                    <a:pt x="90790" y="142460"/>
                  </a:cubicBezTo>
                  <a:cubicBezTo>
                    <a:pt x="65358" y="125578"/>
                    <a:pt x="54293" y="130607"/>
                    <a:pt x="42066" y="136122"/>
                  </a:cubicBezTo>
                  <a:cubicBezTo>
                    <a:pt x="31238" y="141978"/>
                    <a:pt x="18949" y="144583"/>
                    <a:pt x="6676" y="143624"/>
                  </a:cubicBezTo>
                  <a:cubicBezTo>
                    <a:pt x="2920" y="143300"/>
                    <a:pt x="35" y="140156"/>
                    <a:pt x="34" y="136385"/>
                  </a:cubicBezTo>
                  <a:lnTo>
                    <a:pt x="0" y="136385"/>
                  </a:lnTo>
                  <a:lnTo>
                    <a:pt x="0" y="20561"/>
                  </a:lnTo>
                  <a:cubicBezTo>
                    <a:pt x="10" y="16533"/>
                    <a:pt x="3266" y="13267"/>
                    <a:pt x="7294" y="13245"/>
                  </a:cubicBezTo>
                  <a:cubicBezTo>
                    <a:pt x="7723" y="13259"/>
                    <a:pt x="8150" y="13309"/>
                    <a:pt x="8570" y="13395"/>
                  </a:cubicBezTo>
                  <a:close/>
                  <a:moveTo>
                    <a:pt x="166303" y="62457"/>
                  </a:moveTo>
                  <a:lnTo>
                    <a:pt x="166303" y="62457"/>
                  </a:lnTo>
                  <a:cubicBezTo>
                    <a:pt x="161496" y="61120"/>
                    <a:pt x="156824" y="59336"/>
                    <a:pt x="152349" y="57130"/>
                  </a:cubicBezTo>
                  <a:cubicBezTo>
                    <a:pt x="139562" y="49472"/>
                    <a:pt x="123840" y="48547"/>
                    <a:pt x="110243" y="54653"/>
                  </a:cubicBezTo>
                  <a:cubicBezTo>
                    <a:pt x="108012" y="55547"/>
                    <a:pt x="106927" y="58080"/>
                    <a:pt x="107821" y="60311"/>
                  </a:cubicBezTo>
                  <a:cubicBezTo>
                    <a:pt x="108714" y="62542"/>
                    <a:pt x="111247" y="63627"/>
                    <a:pt x="113479" y="62734"/>
                  </a:cubicBezTo>
                  <a:cubicBezTo>
                    <a:pt x="113494" y="62728"/>
                    <a:pt x="113509" y="62722"/>
                    <a:pt x="113524" y="62715"/>
                  </a:cubicBezTo>
                  <a:cubicBezTo>
                    <a:pt x="124951" y="57752"/>
                    <a:pt x="138078" y="58647"/>
                    <a:pt x="148726" y="65117"/>
                  </a:cubicBezTo>
                  <a:cubicBezTo>
                    <a:pt x="153681" y="67512"/>
                    <a:pt x="158841" y="69457"/>
                    <a:pt x="164144" y="70927"/>
                  </a:cubicBezTo>
                  <a:cubicBezTo>
                    <a:pt x="166483" y="71531"/>
                    <a:pt x="168869" y="70126"/>
                    <a:pt x="169474" y="67787"/>
                  </a:cubicBezTo>
                  <a:cubicBezTo>
                    <a:pt x="170078" y="65448"/>
                    <a:pt x="168672" y="63062"/>
                    <a:pt x="166333" y="62458"/>
                  </a:cubicBezTo>
                  <a:cubicBezTo>
                    <a:pt x="166323" y="62455"/>
                    <a:pt x="166313" y="62452"/>
                    <a:pt x="166303" y="62450"/>
                  </a:cubicBezTo>
                  <a:close/>
                  <a:moveTo>
                    <a:pt x="166303" y="83836"/>
                  </a:moveTo>
                  <a:lnTo>
                    <a:pt x="166303" y="83836"/>
                  </a:lnTo>
                  <a:cubicBezTo>
                    <a:pt x="161508" y="82478"/>
                    <a:pt x="156839" y="80709"/>
                    <a:pt x="152349" y="78548"/>
                  </a:cubicBezTo>
                  <a:cubicBezTo>
                    <a:pt x="139574" y="70858"/>
                    <a:pt x="123842" y="69919"/>
                    <a:pt x="110243" y="76035"/>
                  </a:cubicBezTo>
                  <a:cubicBezTo>
                    <a:pt x="108025" y="76963"/>
                    <a:pt x="106978" y="79513"/>
                    <a:pt x="107906" y="81731"/>
                  </a:cubicBezTo>
                  <a:cubicBezTo>
                    <a:pt x="108821" y="83919"/>
                    <a:pt x="111318" y="84972"/>
                    <a:pt x="113524" y="84101"/>
                  </a:cubicBezTo>
                  <a:cubicBezTo>
                    <a:pt x="124951" y="79134"/>
                    <a:pt x="138079" y="80030"/>
                    <a:pt x="148726" y="86502"/>
                  </a:cubicBezTo>
                  <a:cubicBezTo>
                    <a:pt x="153681" y="88897"/>
                    <a:pt x="158841" y="90841"/>
                    <a:pt x="164145" y="92312"/>
                  </a:cubicBezTo>
                  <a:cubicBezTo>
                    <a:pt x="166483" y="92917"/>
                    <a:pt x="168869" y="91511"/>
                    <a:pt x="169474" y="89172"/>
                  </a:cubicBezTo>
                  <a:cubicBezTo>
                    <a:pt x="170079" y="86833"/>
                    <a:pt x="168673" y="84447"/>
                    <a:pt x="166334" y="83843"/>
                  </a:cubicBezTo>
                  <a:cubicBezTo>
                    <a:pt x="166324" y="83840"/>
                    <a:pt x="166313" y="83838"/>
                    <a:pt x="166303" y="83835"/>
                  </a:cubicBezTo>
                  <a:close/>
                  <a:moveTo>
                    <a:pt x="166303" y="105253"/>
                  </a:moveTo>
                  <a:lnTo>
                    <a:pt x="166303" y="105253"/>
                  </a:lnTo>
                  <a:cubicBezTo>
                    <a:pt x="161506" y="103884"/>
                    <a:pt x="156838" y="102103"/>
                    <a:pt x="152349" y="99929"/>
                  </a:cubicBezTo>
                  <a:cubicBezTo>
                    <a:pt x="139569" y="92256"/>
                    <a:pt x="123846" y="91316"/>
                    <a:pt x="110243" y="97412"/>
                  </a:cubicBezTo>
                  <a:cubicBezTo>
                    <a:pt x="108012" y="98331"/>
                    <a:pt x="106946" y="100884"/>
                    <a:pt x="107862" y="103117"/>
                  </a:cubicBezTo>
                  <a:cubicBezTo>
                    <a:pt x="108754" y="105322"/>
                    <a:pt x="111264" y="106388"/>
                    <a:pt x="113470" y="105498"/>
                  </a:cubicBezTo>
                  <a:lnTo>
                    <a:pt x="113524" y="105475"/>
                  </a:lnTo>
                  <a:cubicBezTo>
                    <a:pt x="124952" y="100511"/>
                    <a:pt x="138078" y="101407"/>
                    <a:pt x="148726" y="107876"/>
                  </a:cubicBezTo>
                  <a:cubicBezTo>
                    <a:pt x="153686" y="110271"/>
                    <a:pt x="158845" y="112229"/>
                    <a:pt x="164145" y="113730"/>
                  </a:cubicBezTo>
                  <a:cubicBezTo>
                    <a:pt x="166494" y="114302"/>
                    <a:pt x="168868" y="112880"/>
                    <a:pt x="169472" y="110538"/>
                  </a:cubicBezTo>
                  <a:cubicBezTo>
                    <a:pt x="170065" y="108216"/>
                    <a:pt x="168664" y="105852"/>
                    <a:pt x="166341" y="105259"/>
                  </a:cubicBezTo>
                  <a:lnTo>
                    <a:pt x="166303" y="105249"/>
                  </a:lnTo>
                  <a:close/>
                  <a:moveTo>
                    <a:pt x="166303" y="41074"/>
                  </a:moveTo>
                  <a:lnTo>
                    <a:pt x="166303" y="41074"/>
                  </a:lnTo>
                  <a:cubicBezTo>
                    <a:pt x="161506" y="39705"/>
                    <a:pt x="156838" y="37924"/>
                    <a:pt x="152349" y="35750"/>
                  </a:cubicBezTo>
                  <a:cubicBezTo>
                    <a:pt x="139562" y="28091"/>
                    <a:pt x="123839" y="27166"/>
                    <a:pt x="110243" y="33273"/>
                  </a:cubicBezTo>
                  <a:cubicBezTo>
                    <a:pt x="108025" y="34201"/>
                    <a:pt x="106978" y="36752"/>
                    <a:pt x="107906" y="38970"/>
                  </a:cubicBezTo>
                  <a:cubicBezTo>
                    <a:pt x="108821" y="41158"/>
                    <a:pt x="111318" y="42211"/>
                    <a:pt x="113524" y="41339"/>
                  </a:cubicBezTo>
                  <a:cubicBezTo>
                    <a:pt x="124948" y="36354"/>
                    <a:pt x="138085" y="37249"/>
                    <a:pt x="148726" y="43740"/>
                  </a:cubicBezTo>
                  <a:cubicBezTo>
                    <a:pt x="153688" y="46120"/>
                    <a:pt x="158847" y="48066"/>
                    <a:pt x="164145" y="49555"/>
                  </a:cubicBezTo>
                  <a:cubicBezTo>
                    <a:pt x="166479" y="50181"/>
                    <a:pt x="168879" y="48797"/>
                    <a:pt x="169506" y="46463"/>
                  </a:cubicBezTo>
                  <a:cubicBezTo>
                    <a:pt x="170132" y="44129"/>
                    <a:pt x="168748" y="41729"/>
                    <a:pt x="166415" y="41102"/>
                  </a:cubicBezTo>
                  <a:cubicBezTo>
                    <a:pt x="166397" y="41098"/>
                    <a:pt x="166380" y="41093"/>
                    <a:pt x="166362" y="41089"/>
                  </a:cubicBezTo>
                  <a:lnTo>
                    <a:pt x="166303" y="41073"/>
                  </a:lnTo>
                  <a:close/>
                  <a:moveTo>
                    <a:pt x="25435" y="70934"/>
                  </a:moveTo>
                  <a:lnTo>
                    <a:pt x="25435" y="70934"/>
                  </a:lnTo>
                  <a:cubicBezTo>
                    <a:pt x="30742" y="69464"/>
                    <a:pt x="35907" y="67520"/>
                    <a:pt x="40865" y="65124"/>
                  </a:cubicBezTo>
                  <a:cubicBezTo>
                    <a:pt x="51513" y="58655"/>
                    <a:pt x="64640" y="57759"/>
                    <a:pt x="76068" y="62723"/>
                  </a:cubicBezTo>
                  <a:cubicBezTo>
                    <a:pt x="78308" y="63601"/>
                    <a:pt x="80836" y="62497"/>
                    <a:pt x="81714" y="60257"/>
                  </a:cubicBezTo>
                  <a:cubicBezTo>
                    <a:pt x="82573" y="58065"/>
                    <a:pt x="81535" y="55587"/>
                    <a:pt x="79371" y="54661"/>
                  </a:cubicBezTo>
                  <a:cubicBezTo>
                    <a:pt x="65769" y="48554"/>
                    <a:pt x="50041" y="49478"/>
                    <a:pt x="37248" y="57137"/>
                  </a:cubicBezTo>
                  <a:cubicBezTo>
                    <a:pt x="32765" y="59342"/>
                    <a:pt x="28086" y="61125"/>
                    <a:pt x="23274" y="62465"/>
                  </a:cubicBezTo>
                  <a:cubicBezTo>
                    <a:pt x="20930" y="63052"/>
                    <a:pt x="19507" y="65428"/>
                    <a:pt x="20095" y="67771"/>
                  </a:cubicBezTo>
                  <a:cubicBezTo>
                    <a:pt x="20682" y="70114"/>
                    <a:pt x="23058" y="71537"/>
                    <a:pt x="25401" y="70950"/>
                  </a:cubicBezTo>
                  <a:cubicBezTo>
                    <a:pt x="25412" y="70947"/>
                    <a:pt x="25422" y="70944"/>
                    <a:pt x="25432" y="70942"/>
                  </a:cubicBezTo>
                  <a:close/>
                  <a:moveTo>
                    <a:pt x="25435" y="92313"/>
                  </a:moveTo>
                  <a:lnTo>
                    <a:pt x="25435" y="92313"/>
                  </a:lnTo>
                  <a:cubicBezTo>
                    <a:pt x="30742" y="90843"/>
                    <a:pt x="35906" y="88898"/>
                    <a:pt x="40865" y="86503"/>
                  </a:cubicBezTo>
                  <a:cubicBezTo>
                    <a:pt x="51513" y="80031"/>
                    <a:pt x="64640" y="79136"/>
                    <a:pt x="76068" y="84102"/>
                  </a:cubicBezTo>
                  <a:cubicBezTo>
                    <a:pt x="78311" y="84975"/>
                    <a:pt x="80838" y="83865"/>
                    <a:pt x="81711" y="81622"/>
                  </a:cubicBezTo>
                  <a:cubicBezTo>
                    <a:pt x="82563" y="79434"/>
                    <a:pt x="81528" y="76963"/>
                    <a:pt x="79371" y="76036"/>
                  </a:cubicBezTo>
                  <a:cubicBezTo>
                    <a:pt x="65767" y="69920"/>
                    <a:pt x="50029" y="70859"/>
                    <a:pt x="37248" y="78548"/>
                  </a:cubicBezTo>
                  <a:cubicBezTo>
                    <a:pt x="32750" y="80709"/>
                    <a:pt x="28075" y="82479"/>
                    <a:pt x="23274" y="83837"/>
                  </a:cubicBezTo>
                  <a:cubicBezTo>
                    <a:pt x="20930" y="84424"/>
                    <a:pt x="19507" y="86800"/>
                    <a:pt x="20095" y="89143"/>
                  </a:cubicBezTo>
                  <a:cubicBezTo>
                    <a:pt x="20682" y="91486"/>
                    <a:pt x="23058" y="92909"/>
                    <a:pt x="25401" y="92322"/>
                  </a:cubicBezTo>
                  <a:cubicBezTo>
                    <a:pt x="25412" y="92319"/>
                    <a:pt x="25422" y="92317"/>
                    <a:pt x="25432" y="92314"/>
                  </a:cubicBezTo>
                  <a:close/>
                  <a:moveTo>
                    <a:pt x="25473" y="113735"/>
                  </a:moveTo>
                  <a:lnTo>
                    <a:pt x="25473" y="113735"/>
                  </a:lnTo>
                  <a:cubicBezTo>
                    <a:pt x="30765" y="112235"/>
                    <a:pt x="35916" y="110276"/>
                    <a:pt x="40867" y="107881"/>
                  </a:cubicBezTo>
                  <a:cubicBezTo>
                    <a:pt x="51529" y="101410"/>
                    <a:pt x="64669" y="100515"/>
                    <a:pt x="76110" y="105481"/>
                  </a:cubicBezTo>
                  <a:cubicBezTo>
                    <a:pt x="78305" y="106394"/>
                    <a:pt x="80825" y="105356"/>
                    <a:pt x="81739" y="103160"/>
                  </a:cubicBezTo>
                  <a:cubicBezTo>
                    <a:pt x="81739" y="103160"/>
                    <a:pt x="81739" y="103160"/>
                    <a:pt x="81739" y="103160"/>
                  </a:cubicBezTo>
                  <a:lnTo>
                    <a:pt x="81756" y="103118"/>
                  </a:lnTo>
                  <a:cubicBezTo>
                    <a:pt x="82670" y="100886"/>
                    <a:pt x="81605" y="98334"/>
                    <a:pt x="79375" y="97415"/>
                  </a:cubicBezTo>
                  <a:cubicBezTo>
                    <a:pt x="65766" y="91317"/>
                    <a:pt x="50036" y="92257"/>
                    <a:pt x="37251" y="99931"/>
                  </a:cubicBezTo>
                  <a:cubicBezTo>
                    <a:pt x="32754" y="102104"/>
                    <a:pt x="28079" y="103886"/>
                    <a:pt x="23277" y="105256"/>
                  </a:cubicBezTo>
                  <a:cubicBezTo>
                    <a:pt x="20953" y="105854"/>
                    <a:pt x="19546" y="108215"/>
                    <a:pt x="20128" y="110544"/>
                  </a:cubicBezTo>
                  <a:cubicBezTo>
                    <a:pt x="20740" y="112889"/>
                    <a:pt x="23120" y="114309"/>
                    <a:pt x="25474" y="113736"/>
                  </a:cubicBezTo>
                  <a:close/>
                  <a:moveTo>
                    <a:pt x="25473" y="49556"/>
                  </a:moveTo>
                  <a:lnTo>
                    <a:pt x="25473" y="49556"/>
                  </a:lnTo>
                  <a:cubicBezTo>
                    <a:pt x="30764" y="48069"/>
                    <a:pt x="35914" y="46123"/>
                    <a:pt x="40867" y="43741"/>
                  </a:cubicBezTo>
                  <a:cubicBezTo>
                    <a:pt x="51523" y="37248"/>
                    <a:pt x="64673" y="36353"/>
                    <a:pt x="76110" y="41340"/>
                  </a:cubicBezTo>
                  <a:cubicBezTo>
                    <a:pt x="78346" y="42220"/>
                    <a:pt x="80872" y="41120"/>
                    <a:pt x="81751" y="38883"/>
                  </a:cubicBezTo>
                  <a:cubicBezTo>
                    <a:pt x="82619" y="36679"/>
                    <a:pt x="81562" y="34185"/>
                    <a:pt x="79375" y="33274"/>
                  </a:cubicBezTo>
                  <a:cubicBezTo>
                    <a:pt x="65773" y="27166"/>
                    <a:pt x="50043" y="28090"/>
                    <a:pt x="37251" y="35751"/>
                  </a:cubicBezTo>
                  <a:cubicBezTo>
                    <a:pt x="32755" y="37923"/>
                    <a:pt x="28080" y="39704"/>
                    <a:pt x="23278" y="41074"/>
                  </a:cubicBezTo>
                  <a:cubicBezTo>
                    <a:pt x="20915" y="41596"/>
                    <a:pt x="19421" y="43934"/>
                    <a:pt x="19943" y="46297"/>
                  </a:cubicBezTo>
                  <a:cubicBezTo>
                    <a:pt x="20464" y="48660"/>
                    <a:pt x="22802" y="50153"/>
                    <a:pt x="25165" y="49632"/>
                  </a:cubicBezTo>
                  <a:cubicBezTo>
                    <a:pt x="25269" y="49609"/>
                    <a:pt x="25372" y="49582"/>
                    <a:pt x="25474" y="49552"/>
                  </a:cubicBezTo>
                  <a:close/>
                  <a:moveTo>
                    <a:pt x="99177" y="26373"/>
                  </a:moveTo>
                  <a:lnTo>
                    <a:pt x="99177" y="26373"/>
                  </a:lnTo>
                  <a:lnTo>
                    <a:pt x="99177" y="125174"/>
                  </a:lnTo>
                  <a:cubicBezTo>
                    <a:pt x="115216" y="113650"/>
                    <a:pt x="136563" y="112738"/>
                    <a:pt x="153528" y="122851"/>
                  </a:cubicBezTo>
                  <a:cubicBezTo>
                    <a:pt x="160208" y="126363"/>
                    <a:pt x="167509" y="128541"/>
                    <a:pt x="175022" y="129262"/>
                  </a:cubicBezTo>
                  <a:lnTo>
                    <a:pt x="175022" y="27987"/>
                  </a:lnTo>
                  <a:cubicBezTo>
                    <a:pt x="165423" y="27394"/>
                    <a:pt x="156059" y="24773"/>
                    <a:pt x="147547" y="20298"/>
                  </a:cubicBezTo>
                  <a:cubicBezTo>
                    <a:pt x="135375" y="14785"/>
                    <a:pt x="124348" y="9796"/>
                    <a:pt x="99177" y="26374"/>
                  </a:cubicBezTo>
                  <a:close/>
                  <a:moveTo>
                    <a:pt x="90439" y="125174"/>
                  </a:moveTo>
                  <a:lnTo>
                    <a:pt x="90439" y="125174"/>
                  </a:lnTo>
                  <a:lnTo>
                    <a:pt x="90439" y="26373"/>
                  </a:lnTo>
                  <a:cubicBezTo>
                    <a:pt x="65250" y="9799"/>
                    <a:pt x="54244" y="14784"/>
                    <a:pt x="42070" y="20297"/>
                  </a:cubicBezTo>
                  <a:cubicBezTo>
                    <a:pt x="33550" y="24769"/>
                    <a:pt x="24181" y="27389"/>
                    <a:pt x="14576" y="27985"/>
                  </a:cubicBezTo>
                  <a:lnTo>
                    <a:pt x="14576" y="129264"/>
                  </a:lnTo>
                  <a:cubicBezTo>
                    <a:pt x="22093" y="128540"/>
                    <a:pt x="29398" y="126363"/>
                    <a:pt x="36086" y="122853"/>
                  </a:cubicBezTo>
                  <a:cubicBezTo>
                    <a:pt x="53051" y="112740"/>
                    <a:pt x="74398" y="113653"/>
                    <a:pt x="90439" y="125176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</p:grpSp>
      <p:grpSp>
        <p:nvGrpSpPr>
          <p:cNvPr id="79" name="Gruppieren 78"/>
          <p:cNvGrpSpPr/>
          <p:nvPr/>
        </p:nvGrpSpPr>
        <p:grpSpPr>
          <a:xfrm>
            <a:off x="7434042" y="3094778"/>
            <a:ext cx="648000" cy="648000"/>
            <a:chOff x="9216139" y="2873822"/>
            <a:chExt cx="648000" cy="648000"/>
          </a:xfrm>
        </p:grpSpPr>
        <p:sp>
          <p:nvSpPr>
            <p:cNvPr id="47" name="Freeform: Shape 380">
              <a:extLst>
                <a:ext uri="{FF2B5EF4-FFF2-40B4-BE49-F238E27FC236}">
                  <a16:creationId xmlns:a16="http://schemas.microsoft.com/office/drawing/2014/main" id="{832FD4CD-81B1-424E-9309-E03B59C22A80}"/>
                </a:ext>
              </a:extLst>
            </p:cNvPr>
            <p:cNvSpPr/>
            <p:nvPr/>
          </p:nvSpPr>
          <p:spPr>
            <a:xfrm>
              <a:off x="9216139" y="2873822"/>
              <a:ext cx="648000" cy="648000"/>
            </a:xfrm>
            <a:custGeom>
              <a:avLst/>
              <a:gdLst>
                <a:gd name="connsiteX0" fmla="*/ 0 w 306268"/>
                <a:gd name="connsiteY0" fmla="*/ 0 h 306268"/>
                <a:gd name="connsiteX1" fmla="*/ 306269 w 306268"/>
                <a:gd name="connsiteY1" fmla="*/ 0 h 306268"/>
                <a:gd name="connsiteX2" fmla="*/ 306269 w 306268"/>
                <a:gd name="connsiteY2" fmla="*/ 306269 h 306268"/>
                <a:gd name="connsiteX3" fmla="*/ 0 w 306268"/>
                <a:gd name="connsiteY3" fmla="*/ 306269 h 3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268" h="306268">
                  <a:moveTo>
                    <a:pt x="0" y="0"/>
                  </a:moveTo>
                  <a:lnTo>
                    <a:pt x="306269" y="0"/>
                  </a:lnTo>
                  <a:lnTo>
                    <a:pt x="306269" y="306269"/>
                  </a:lnTo>
                  <a:lnTo>
                    <a:pt x="0" y="306269"/>
                  </a:lnTo>
                  <a:close/>
                </a:path>
              </a:pathLst>
            </a:custGeom>
            <a:noFill/>
            <a:ln w="19050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48" name="Freeform: Shape 381">
              <a:extLst>
                <a:ext uri="{FF2B5EF4-FFF2-40B4-BE49-F238E27FC236}">
                  <a16:creationId xmlns:a16="http://schemas.microsoft.com/office/drawing/2014/main" id="{1017F872-609E-46C2-93BF-FBD5A37C7B90}"/>
                </a:ext>
              </a:extLst>
            </p:cNvPr>
            <p:cNvSpPr/>
            <p:nvPr/>
          </p:nvSpPr>
          <p:spPr>
            <a:xfrm>
              <a:off x="9439721" y="3169425"/>
              <a:ext cx="200842" cy="164448"/>
            </a:xfrm>
            <a:custGeom>
              <a:avLst/>
              <a:gdLst>
                <a:gd name="connsiteX0" fmla="*/ 94925 w 94925"/>
                <a:gd name="connsiteY0" fmla="*/ 77725 h 77724"/>
                <a:gd name="connsiteX1" fmla="*/ 83204 w 94925"/>
                <a:gd name="connsiteY1" fmla="*/ 77725 h 77724"/>
                <a:gd name="connsiteX2" fmla="*/ 83204 w 94925"/>
                <a:gd name="connsiteY2" fmla="*/ 28551 h 77724"/>
                <a:gd name="connsiteX3" fmla="*/ 47458 w 94925"/>
                <a:gd name="connsiteY3" fmla="*/ 11720 h 77724"/>
                <a:gd name="connsiteX4" fmla="*/ 11720 w 94925"/>
                <a:gd name="connsiteY4" fmla="*/ 28551 h 77724"/>
                <a:gd name="connsiteX5" fmla="*/ 11720 w 94925"/>
                <a:gd name="connsiteY5" fmla="*/ 77725 h 77724"/>
                <a:gd name="connsiteX6" fmla="*/ 0 w 94925"/>
                <a:gd name="connsiteY6" fmla="*/ 77725 h 77724"/>
                <a:gd name="connsiteX7" fmla="*/ 0 w 94925"/>
                <a:gd name="connsiteY7" fmla="*/ 28551 h 77724"/>
                <a:gd name="connsiteX8" fmla="*/ 47458 w 94925"/>
                <a:gd name="connsiteY8" fmla="*/ 0 h 77724"/>
                <a:gd name="connsiteX9" fmla="*/ 94925 w 94925"/>
                <a:gd name="connsiteY9" fmla="*/ 28551 h 77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925" h="77724">
                  <a:moveTo>
                    <a:pt x="94925" y="77725"/>
                  </a:moveTo>
                  <a:lnTo>
                    <a:pt x="83204" y="77725"/>
                  </a:lnTo>
                  <a:lnTo>
                    <a:pt x="83204" y="28551"/>
                  </a:lnTo>
                  <a:cubicBezTo>
                    <a:pt x="83204" y="20910"/>
                    <a:pt x="61252" y="11720"/>
                    <a:pt x="47458" y="11720"/>
                  </a:cubicBezTo>
                  <a:cubicBezTo>
                    <a:pt x="33664" y="11720"/>
                    <a:pt x="11720" y="20910"/>
                    <a:pt x="11720" y="28551"/>
                  </a:cubicBezTo>
                  <a:lnTo>
                    <a:pt x="11720" y="77725"/>
                  </a:lnTo>
                  <a:lnTo>
                    <a:pt x="0" y="77725"/>
                  </a:lnTo>
                  <a:lnTo>
                    <a:pt x="0" y="28551"/>
                  </a:lnTo>
                  <a:cubicBezTo>
                    <a:pt x="0" y="10078"/>
                    <a:pt x="31346" y="0"/>
                    <a:pt x="47458" y="0"/>
                  </a:cubicBezTo>
                  <a:cubicBezTo>
                    <a:pt x="63569" y="0"/>
                    <a:pt x="94925" y="10078"/>
                    <a:pt x="94925" y="28551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49" name="Freeform: Shape 386">
              <a:extLst>
                <a:ext uri="{FF2B5EF4-FFF2-40B4-BE49-F238E27FC236}">
                  <a16:creationId xmlns:a16="http://schemas.microsoft.com/office/drawing/2014/main" id="{F64A1C8D-F2B2-4BEE-B717-00D8222D4ECA}"/>
                </a:ext>
              </a:extLst>
            </p:cNvPr>
            <p:cNvSpPr/>
            <p:nvPr/>
          </p:nvSpPr>
          <p:spPr>
            <a:xfrm>
              <a:off x="9375689" y="3065715"/>
              <a:ext cx="104841" cy="120518"/>
            </a:xfrm>
            <a:custGeom>
              <a:avLst/>
              <a:gdLst>
                <a:gd name="connsiteX0" fmla="*/ 24777 w 49552"/>
                <a:gd name="connsiteY0" fmla="*/ 56956 h 56961"/>
                <a:gd name="connsiteX1" fmla="*/ 6 w 49552"/>
                <a:gd name="connsiteY1" fmla="*/ 33281 h 56961"/>
                <a:gd name="connsiteX2" fmla="*/ 6 w 49552"/>
                <a:gd name="connsiteY2" fmla="*/ 32185 h 56961"/>
                <a:gd name="connsiteX3" fmla="*/ 6 w 49552"/>
                <a:gd name="connsiteY3" fmla="*/ 24617 h 56961"/>
                <a:gd name="connsiteX4" fmla="*/ 24930 w 49552"/>
                <a:gd name="connsiteY4" fmla="*/ 0 h 56961"/>
                <a:gd name="connsiteX5" fmla="*/ 49546 w 49552"/>
                <a:gd name="connsiteY5" fmla="*/ 24617 h 56961"/>
                <a:gd name="connsiteX6" fmla="*/ 49546 w 49552"/>
                <a:gd name="connsiteY6" fmla="*/ 32185 h 56961"/>
                <a:gd name="connsiteX7" fmla="*/ 25872 w 49552"/>
                <a:gd name="connsiteY7" fmla="*/ 56956 h 56961"/>
                <a:gd name="connsiteX8" fmla="*/ 24777 w 49552"/>
                <a:gd name="connsiteY8" fmla="*/ 56956 h 56961"/>
                <a:gd name="connsiteX9" fmla="*/ 24777 w 49552"/>
                <a:gd name="connsiteY9" fmla="*/ 11567 h 56961"/>
                <a:gd name="connsiteX10" fmla="*/ 11727 w 49552"/>
                <a:gd name="connsiteY10" fmla="*/ 23466 h 56961"/>
                <a:gd name="connsiteX11" fmla="*/ 11727 w 49552"/>
                <a:gd name="connsiteY11" fmla="*/ 24616 h 56961"/>
                <a:gd name="connsiteX12" fmla="*/ 11727 w 49552"/>
                <a:gd name="connsiteY12" fmla="*/ 32184 h 56961"/>
                <a:gd name="connsiteX13" fmla="*/ 24777 w 49552"/>
                <a:gd name="connsiteY13" fmla="*/ 45233 h 56961"/>
                <a:gd name="connsiteX14" fmla="*/ 37826 w 49552"/>
                <a:gd name="connsiteY14" fmla="*/ 32184 h 56961"/>
                <a:gd name="connsiteX15" fmla="*/ 37826 w 49552"/>
                <a:gd name="connsiteY15" fmla="*/ 24616 h 56961"/>
                <a:gd name="connsiteX16" fmla="*/ 25927 w 49552"/>
                <a:gd name="connsiteY16" fmla="*/ 11567 h 56961"/>
                <a:gd name="connsiteX17" fmla="*/ 24777 w 49552"/>
                <a:gd name="connsiteY17" fmla="*/ 11567 h 56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552" h="56961">
                  <a:moveTo>
                    <a:pt x="24777" y="56956"/>
                  </a:moveTo>
                  <a:cubicBezTo>
                    <a:pt x="11399" y="57258"/>
                    <a:pt x="309" y="46659"/>
                    <a:pt x="6" y="33281"/>
                  </a:cubicBezTo>
                  <a:cubicBezTo>
                    <a:pt x="-2" y="32916"/>
                    <a:pt x="-2" y="32550"/>
                    <a:pt x="6" y="32185"/>
                  </a:cubicBezTo>
                  <a:lnTo>
                    <a:pt x="6" y="24617"/>
                  </a:lnTo>
                  <a:cubicBezTo>
                    <a:pt x="90" y="10937"/>
                    <a:pt x="11249" y="-84"/>
                    <a:pt x="24930" y="0"/>
                  </a:cubicBezTo>
                  <a:cubicBezTo>
                    <a:pt x="38490" y="85"/>
                    <a:pt x="49462" y="11057"/>
                    <a:pt x="49546" y="24617"/>
                  </a:cubicBezTo>
                  <a:lnTo>
                    <a:pt x="49546" y="32185"/>
                  </a:lnTo>
                  <a:cubicBezTo>
                    <a:pt x="49849" y="45563"/>
                    <a:pt x="39250" y="56653"/>
                    <a:pt x="25872" y="56956"/>
                  </a:cubicBezTo>
                  <a:cubicBezTo>
                    <a:pt x="25507" y="56964"/>
                    <a:pt x="25142" y="56964"/>
                    <a:pt x="24777" y="56956"/>
                  </a:cubicBezTo>
                  <a:close/>
                  <a:moveTo>
                    <a:pt x="24777" y="11567"/>
                  </a:moveTo>
                  <a:cubicBezTo>
                    <a:pt x="17888" y="11249"/>
                    <a:pt x="12045" y="16577"/>
                    <a:pt x="11727" y="23466"/>
                  </a:cubicBezTo>
                  <a:cubicBezTo>
                    <a:pt x="11710" y="23849"/>
                    <a:pt x="11710" y="24233"/>
                    <a:pt x="11727" y="24616"/>
                  </a:cubicBezTo>
                  <a:lnTo>
                    <a:pt x="11727" y="32184"/>
                  </a:lnTo>
                  <a:cubicBezTo>
                    <a:pt x="11727" y="39391"/>
                    <a:pt x="17570" y="45233"/>
                    <a:pt x="24777" y="45233"/>
                  </a:cubicBezTo>
                  <a:cubicBezTo>
                    <a:pt x="31984" y="45233"/>
                    <a:pt x="37826" y="39391"/>
                    <a:pt x="37826" y="32184"/>
                  </a:cubicBezTo>
                  <a:lnTo>
                    <a:pt x="37826" y="24616"/>
                  </a:lnTo>
                  <a:cubicBezTo>
                    <a:pt x="38143" y="17727"/>
                    <a:pt x="32816" y="11885"/>
                    <a:pt x="25927" y="11567"/>
                  </a:cubicBezTo>
                  <a:cubicBezTo>
                    <a:pt x="25544" y="11549"/>
                    <a:pt x="25160" y="11549"/>
                    <a:pt x="24777" y="11567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50" name="Freeform: Shape 384">
              <a:extLst>
                <a:ext uri="{FF2B5EF4-FFF2-40B4-BE49-F238E27FC236}">
                  <a16:creationId xmlns:a16="http://schemas.microsoft.com/office/drawing/2014/main" id="{EDC1EDE1-6889-4A08-8D6F-C6D7CAB1BACB}"/>
                </a:ext>
              </a:extLst>
            </p:cNvPr>
            <p:cNvSpPr/>
            <p:nvPr/>
          </p:nvSpPr>
          <p:spPr>
            <a:xfrm>
              <a:off x="9599751" y="3065392"/>
              <a:ext cx="104845" cy="120843"/>
            </a:xfrm>
            <a:custGeom>
              <a:avLst/>
              <a:gdLst>
                <a:gd name="connsiteX0" fmla="*/ 24777 w 49553"/>
                <a:gd name="connsiteY0" fmla="*/ 57109 h 57115"/>
                <a:gd name="connsiteX1" fmla="*/ 6 w 49553"/>
                <a:gd name="connsiteY1" fmla="*/ 33433 h 57115"/>
                <a:gd name="connsiteX2" fmla="*/ 6 w 49553"/>
                <a:gd name="connsiteY2" fmla="*/ 32338 h 57115"/>
                <a:gd name="connsiteX3" fmla="*/ 6 w 49553"/>
                <a:gd name="connsiteY3" fmla="*/ 24771 h 57115"/>
                <a:gd name="connsiteX4" fmla="*/ 24776 w 49553"/>
                <a:gd name="connsiteY4" fmla="*/ 0 h 57115"/>
                <a:gd name="connsiteX5" fmla="*/ 49547 w 49553"/>
                <a:gd name="connsiteY5" fmla="*/ 24771 h 57115"/>
                <a:gd name="connsiteX6" fmla="*/ 49547 w 49553"/>
                <a:gd name="connsiteY6" fmla="*/ 32338 h 57115"/>
                <a:gd name="connsiteX7" fmla="*/ 25871 w 49553"/>
                <a:gd name="connsiteY7" fmla="*/ 57109 h 57115"/>
                <a:gd name="connsiteX8" fmla="*/ 24777 w 49553"/>
                <a:gd name="connsiteY8" fmla="*/ 57109 h 57115"/>
                <a:gd name="connsiteX9" fmla="*/ 24777 w 49553"/>
                <a:gd name="connsiteY9" fmla="*/ 11721 h 57115"/>
                <a:gd name="connsiteX10" fmla="*/ 11727 w 49553"/>
                <a:gd name="connsiteY10" fmla="*/ 23619 h 57115"/>
                <a:gd name="connsiteX11" fmla="*/ 11727 w 49553"/>
                <a:gd name="connsiteY11" fmla="*/ 24770 h 57115"/>
                <a:gd name="connsiteX12" fmla="*/ 11727 w 49553"/>
                <a:gd name="connsiteY12" fmla="*/ 32337 h 57115"/>
                <a:gd name="connsiteX13" fmla="*/ 24777 w 49553"/>
                <a:gd name="connsiteY13" fmla="*/ 45387 h 57115"/>
                <a:gd name="connsiteX14" fmla="*/ 37826 w 49553"/>
                <a:gd name="connsiteY14" fmla="*/ 32337 h 57115"/>
                <a:gd name="connsiteX15" fmla="*/ 37826 w 49553"/>
                <a:gd name="connsiteY15" fmla="*/ 24770 h 57115"/>
                <a:gd name="connsiteX16" fmla="*/ 25929 w 49553"/>
                <a:gd name="connsiteY16" fmla="*/ 11721 h 57115"/>
                <a:gd name="connsiteX17" fmla="*/ 24777 w 49553"/>
                <a:gd name="connsiteY17" fmla="*/ 11721 h 57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553" h="57115">
                  <a:moveTo>
                    <a:pt x="24777" y="57109"/>
                  </a:moveTo>
                  <a:cubicBezTo>
                    <a:pt x="11398" y="57411"/>
                    <a:pt x="308" y="46811"/>
                    <a:pt x="6" y="33433"/>
                  </a:cubicBezTo>
                  <a:cubicBezTo>
                    <a:pt x="-2" y="33068"/>
                    <a:pt x="-2" y="32703"/>
                    <a:pt x="6" y="32338"/>
                  </a:cubicBezTo>
                  <a:lnTo>
                    <a:pt x="6" y="24771"/>
                  </a:lnTo>
                  <a:cubicBezTo>
                    <a:pt x="6" y="11090"/>
                    <a:pt x="11096" y="0"/>
                    <a:pt x="24776" y="0"/>
                  </a:cubicBezTo>
                  <a:cubicBezTo>
                    <a:pt x="38457" y="0"/>
                    <a:pt x="49547" y="11090"/>
                    <a:pt x="49547" y="24771"/>
                  </a:cubicBezTo>
                  <a:lnTo>
                    <a:pt x="49547" y="32338"/>
                  </a:lnTo>
                  <a:cubicBezTo>
                    <a:pt x="49850" y="45717"/>
                    <a:pt x="39249" y="56807"/>
                    <a:pt x="25871" y="57109"/>
                  </a:cubicBezTo>
                  <a:cubicBezTo>
                    <a:pt x="25506" y="57117"/>
                    <a:pt x="25141" y="57117"/>
                    <a:pt x="24777" y="57109"/>
                  </a:cubicBezTo>
                  <a:close/>
                  <a:moveTo>
                    <a:pt x="24777" y="11721"/>
                  </a:moveTo>
                  <a:cubicBezTo>
                    <a:pt x="17888" y="11403"/>
                    <a:pt x="12045" y="16730"/>
                    <a:pt x="11727" y="23619"/>
                  </a:cubicBezTo>
                  <a:cubicBezTo>
                    <a:pt x="11710" y="24003"/>
                    <a:pt x="11710" y="24387"/>
                    <a:pt x="11727" y="24770"/>
                  </a:cubicBezTo>
                  <a:lnTo>
                    <a:pt x="11727" y="32337"/>
                  </a:lnTo>
                  <a:cubicBezTo>
                    <a:pt x="11727" y="39544"/>
                    <a:pt x="17570" y="45387"/>
                    <a:pt x="24777" y="45387"/>
                  </a:cubicBezTo>
                  <a:cubicBezTo>
                    <a:pt x="31984" y="45387"/>
                    <a:pt x="37826" y="39544"/>
                    <a:pt x="37826" y="32337"/>
                  </a:cubicBezTo>
                  <a:lnTo>
                    <a:pt x="37826" y="24770"/>
                  </a:lnTo>
                  <a:cubicBezTo>
                    <a:pt x="38144" y="17881"/>
                    <a:pt x="32817" y="12039"/>
                    <a:pt x="25929" y="11721"/>
                  </a:cubicBezTo>
                  <a:cubicBezTo>
                    <a:pt x="25545" y="11703"/>
                    <a:pt x="25160" y="11703"/>
                    <a:pt x="24777" y="11721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51" name="Freeform: Shape 382">
              <a:extLst>
                <a:ext uri="{FF2B5EF4-FFF2-40B4-BE49-F238E27FC236}">
                  <a16:creationId xmlns:a16="http://schemas.microsoft.com/office/drawing/2014/main" id="{21EC762B-F8D2-49B2-BF25-C6626771EE29}"/>
                </a:ext>
              </a:extLst>
            </p:cNvPr>
            <p:cNvSpPr/>
            <p:nvPr/>
          </p:nvSpPr>
          <p:spPr>
            <a:xfrm>
              <a:off x="9487712" y="3049065"/>
              <a:ext cx="104841" cy="121157"/>
            </a:xfrm>
            <a:custGeom>
              <a:avLst/>
              <a:gdLst>
                <a:gd name="connsiteX0" fmla="*/ 24777 w 49552"/>
                <a:gd name="connsiteY0" fmla="*/ 57257 h 57263"/>
                <a:gd name="connsiteX1" fmla="*/ 6 w 49552"/>
                <a:gd name="connsiteY1" fmla="*/ 33585 h 57263"/>
                <a:gd name="connsiteX2" fmla="*/ 6 w 49552"/>
                <a:gd name="connsiteY2" fmla="*/ 32486 h 57263"/>
                <a:gd name="connsiteX3" fmla="*/ 6 w 49552"/>
                <a:gd name="connsiteY3" fmla="*/ 24924 h 57263"/>
                <a:gd name="connsiteX4" fmla="*/ 24623 w 49552"/>
                <a:gd name="connsiteY4" fmla="*/ 0 h 57263"/>
                <a:gd name="connsiteX5" fmla="*/ 49547 w 49552"/>
                <a:gd name="connsiteY5" fmla="*/ 24617 h 57263"/>
                <a:gd name="connsiteX6" fmla="*/ 49547 w 49552"/>
                <a:gd name="connsiteY6" fmla="*/ 24924 h 57263"/>
                <a:gd name="connsiteX7" fmla="*/ 49546 w 49552"/>
                <a:gd name="connsiteY7" fmla="*/ 32486 h 57263"/>
                <a:gd name="connsiteX8" fmla="*/ 25874 w 49552"/>
                <a:gd name="connsiteY8" fmla="*/ 57257 h 57263"/>
                <a:gd name="connsiteX9" fmla="*/ 24776 w 49552"/>
                <a:gd name="connsiteY9" fmla="*/ 57257 h 57263"/>
                <a:gd name="connsiteX10" fmla="*/ 24777 w 49552"/>
                <a:gd name="connsiteY10" fmla="*/ 11874 h 57263"/>
                <a:gd name="connsiteX11" fmla="*/ 11727 w 49552"/>
                <a:gd name="connsiteY11" fmla="*/ 23773 h 57263"/>
                <a:gd name="connsiteX12" fmla="*/ 11727 w 49552"/>
                <a:gd name="connsiteY12" fmla="*/ 24923 h 57263"/>
                <a:gd name="connsiteX13" fmla="*/ 11727 w 49552"/>
                <a:gd name="connsiteY13" fmla="*/ 32485 h 57263"/>
                <a:gd name="connsiteX14" fmla="*/ 24777 w 49552"/>
                <a:gd name="connsiteY14" fmla="*/ 45535 h 57263"/>
                <a:gd name="connsiteX15" fmla="*/ 37826 w 49552"/>
                <a:gd name="connsiteY15" fmla="*/ 32485 h 57263"/>
                <a:gd name="connsiteX16" fmla="*/ 37826 w 49552"/>
                <a:gd name="connsiteY16" fmla="*/ 24923 h 57263"/>
                <a:gd name="connsiteX17" fmla="*/ 25927 w 49552"/>
                <a:gd name="connsiteY17" fmla="*/ 11874 h 57263"/>
                <a:gd name="connsiteX18" fmla="*/ 24777 w 49552"/>
                <a:gd name="connsiteY18" fmla="*/ 11874 h 57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9552" h="57263">
                  <a:moveTo>
                    <a:pt x="24777" y="57257"/>
                  </a:moveTo>
                  <a:cubicBezTo>
                    <a:pt x="11400" y="57560"/>
                    <a:pt x="309" y="46962"/>
                    <a:pt x="6" y="33585"/>
                  </a:cubicBezTo>
                  <a:cubicBezTo>
                    <a:pt x="-2" y="33219"/>
                    <a:pt x="-2" y="32852"/>
                    <a:pt x="6" y="32486"/>
                  </a:cubicBezTo>
                  <a:lnTo>
                    <a:pt x="6" y="24924"/>
                  </a:lnTo>
                  <a:cubicBezTo>
                    <a:pt x="-79" y="11244"/>
                    <a:pt x="10943" y="85"/>
                    <a:pt x="24623" y="0"/>
                  </a:cubicBezTo>
                  <a:cubicBezTo>
                    <a:pt x="38303" y="-84"/>
                    <a:pt x="49462" y="10937"/>
                    <a:pt x="49547" y="24617"/>
                  </a:cubicBezTo>
                  <a:cubicBezTo>
                    <a:pt x="49547" y="24720"/>
                    <a:pt x="49547" y="24822"/>
                    <a:pt x="49547" y="24924"/>
                  </a:cubicBezTo>
                  <a:lnTo>
                    <a:pt x="49546" y="32486"/>
                  </a:lnTo>
                  <a:cubicBezTo>
                    <a:pt x="49850" y="45863"/>
                    <a:pt x="39251" y="56954"/>
                    <a:pt x="25874" y="57257"/>
                  </a:cubicBezTo>
                  <a:cubicBezTo>
                    <a:pt x="25508" y="57265"/>
                    <a:pt x="25142" y="57265"/>
                    <a:pt x="24776" y="57257"/>
                  </a:cubicBezTo>
                  <a:close/>
                  <a:moveTo>
                    <a:pt x="24777" y="11874"/>
                  </a:moveTo>
                  <a:cubicBezTo>
                    <a:pt x="17888" y="11556"/>
                    <a:pt x="12045" y="16884"/>
                    <a:pt x="11727" y="23773"/>
                  </a:cubicBezTo>
                  <a:cubicBezTo>
                    <a:pt x="11710" y="24156"/>
                    <a:pt x="11710" y="24540"/>
                    <a:pt x="11727" y="24923"/>
                  </a:cubicBezTo>
                  <a:lnTo>
                    <a:pt x="11727" y="32485"/>
                  </a:lnTo>
                  <a:cubicBezTo>
                    <a:pt x="11727" y="39692"/>
                    <a:pt x="17570" y="45535"/>
                    <a:pt x="24777" y="45535"/>
                  </a:cubicBezTo>
                  <a:cubicBezTo>
                    <a:pt x="31984" y="45535"/>
                    <a:pt x="37826" y="39692"/>
                    <a:pt x="37826" y="32485"/>
                  </a:cubicBezTo>
                  <a:lnTo>
                    <a:pt x="37826" y="24923"/>
                  </a:lnTo>
                  <a:cubicBezTo>
                    <a:pt x="38143" y="18034"/>
                    <a:pt x="32816" y="12192"/>
                    <a:pt x="25927" y="11874"/>
                  </a:cubicBezTo>
                  <a:cubicBezTo>
                    <a:pt x="25544" y="11856"/>
                    <a:pt x="25160" y="11856"/>
                    <a:pt x="24777" y="11874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52" name="Freeform: Shape 383">
              <a:extLst>
                <a:ext uri="{FF2B5EF4-FFF2-40B4-BE49-F238E27FC236}">
                  <a16:creationId xmlns:a16="http://schemas.microsoft.com/office/drawing/2014/main" id="{30220621-427A-46A7-AEF1-E7DC22B439B3}"/>
                </a:ext>
              </a:extLst>
            </p:cNvPr>
            <p:cNvSpPr/>
            <p:nvPr/>
          </p:nvSpPr>
          <p:spPr>
            <a:xfrm>
              <a:off x="9636157" y="3185433"/>
              <a:ext cx="100428" cy="140422"/>
            </a:xfrm>
            <a:custGeom>
              <a:avLst/>
              <a:gdLst>
                <a:gd name="connsiteX0" fmla="*/ 47465 w 47466"/>
                <a:gd name="connsiteY0" fmla="*/ 66368 h 66368"/>
                <a:gd name="connsiteX1" fmla="*/ 35745 w 47466"/>
                <a:gd name="connsiteY1" fmla="*/ 66368 h 66368"/>
                <a:gd name="connsiteX2" fmla="*/ 35745 w 47466"/>
                <a:gd name="connsiteY2" fmla="*/ 28547 h 66368"/>
                <a:gd name="connsiteX3" fmla="*/ 3785 w 47466"/>
                <a:gd name="connsiteY3" fmla="*/ 11716 h 66368"/>
                <a:gd name="connsiteX4" fmla="*/ 0 w 47466"/>
                <a:gd name="connsiteY4" fmla="*/ 11716 h 66368"/>
                <a:gd name="connsiteX5" fmla="*/ 0 w 47466"/>
                <a:gd name="connsiteY5" fmla="*/ 0 h 66368"/>
                <a:gd name="connsiteX6" fmla="*/ 3786 w 47466"/>
                <a:gd name="connsiteY6" fmla="*/ 0 h 66368"/>
                <a:gd name="connsiteX7" fmla="*/ 47467 w 47466"/>
                <a:gd name="connsiteY7" fmla="*/ 28552 h 66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466" h="66368">
                  <a:moveTo>
                    <a:pt x="47465" y="66368"/>
                  </a:moveTo>
                  <a:lnTo>
                    <a:pt x="35745" y="66368"/>
                  </a:lnTo>
                  <a:lnTo>
                    <a:pt x="35745" y="28547"/>
                  </a:lnTo>
                  <a:cubicBezTo>
                    <a:pt x="35745" y="21283"/>
                    <a:pt x="15647" y="11716"/>
                    <a:pt x="3785" y="11716"/>
                  </a:cubicBezTo>
                  <a:lnTo>
                    <a:pt x="0" y="11716"/>
                  </a:lnTo>
                  <a:lnTo>
                    <a:pt x="0" y="0"/>
                  </a:lnTo>
                  <a:lnTo>
                    <a:pt x="3786" y="0"/>
                  </a:lnTo>
                  <a:cubicBezTo>
                    <a:pt x="18781" y="0"/>
                    <a:pt x="47467" y="11120"/>
                    <a:pt x="47467" y="28552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53" name="Freeform: Shape 385">
              <a:extLst>
                <a:ext uri="{FF2B5EF4-FFF2-40B4-BE49-F238E27FC236}">
                  <a16:creationId xmlns:a16="http://schemas.microsoft.com/office/drawing/2014/main" id="{A899EE9E-B096-4E0C-8665-B90651F4F604}"/>
                </a:ext>
              </a:extLst>
            </p:cNvPr>
            <p:cNvSpPr/>
            <p:nvPr/>
          </p:nvSpPr>
          <p:spPr>
            <a:xfrm>
              <a:off x="9343701" y="3185423"/>
              <a:ext cx="100409" cy="140431"/>
            </a:xfrm>
            <a:custGeom>
              <a:avLst/>
              <a:gdLst>
                <a:gd name="connsiteX0" fmla="*/ 11721 w 47457"/>
                <a:gd name="connsiteY0" fmla="*/ 66373 h 66373"/>
                <a:gd name="connsiteX1" fmla="*/ 0 w 47457"/>
                <a:gd name="connsiteY1" fmla="*/ 66373 h 66373"/>
                <a:gd name="connsiteX2" fmla="*/ 0 w 47457"/>
                <a:gd name="connsiteY2" fmla="*/ 28552 h 66373"/>
                <a:gd name="connsiteX3" fmla="*/ 43681 w 47457"/>
                <a:gd name="connsiteY3" fmla="*/ 0 h 66373"/>
                <a:gd name="connsiteX4" fmla="*/ 47458 w 47457"/>
                <a:gd name="connsiteY4" fmla="*/ 0 h 66373"/>
                <a:gd name="connsiteX5" fmla="*/ 47458 w 47457"/>
                <a:gd name="connsiteY5" fmla="*/ 11716 h 66373"/>
                <a:gd name="connsiteX6" fmla="*/ 43681 w 47457"/>
                <a:gd name="connsiteY6" fmla="*/ 11716 h 66373"/>
                <a:gd name="connsiteX7" fmla="*/ 11721 w 47457"/>
                <a:gd name="connsiteY7" fmla="*/ 28547 h 66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457" h="66373">
                  <a:moveTo>
                    <a:pt x="11721" y="66373"/>
                  </a:moveTo>
                  <a:lnTo>
                    <a:pt x="0" y="66373"/>
                  </a:lnTo>
                  <a:lnTo>
                    <a:pt x="0" y="28552"/>
                  </a:lnTo>
                  <a:cubicBezTo>
                    <a:pt x="0" y="11121"/>
                    <a:pt x="28687" y="0"/>
                    <a:pt x="43681" y="0"/>
                  </a:cubicBezTo>
                  <a:lnTo>
                    <a:pt x="47458" y="0"/>
                  </a:lnTo>
                  <a:lnTo>
                    <a:pt x="47458" y="11716"/>
                  </a:lnTo>
                  <a:lnTo>
                    <a:pt x="43681" y="11716"/>
                  </a:lnTo>
                  <a:cubicBezTo>
                    <a:pt x="31821" y="11716"/>
                    <a:pt x="11721" y="21283"/>
                    <a:pt x="11721" y="28547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</p:grpSp>
      <p:grpSp>
        <p:nvGrpSpPr>
          <p:cNvPr id="54" name="Gruppieren 53"/>
          <p:cNvGrpSpPr/>
          <p:nvPr/>
        </p:nvGrpSpPr>
        <p:grpSpPr>
          <a:xfrm>
            <a:off x="6475688" y="3345610"/>
            <a:ext cx="479852" cy="178421"/>
            <a:chOff x="3716777" y="1298527"/>
            <a:chExt cx="360000" cy="133857"/>
          </a:xfrm>
        </p:grpSpPr>
        <p:cxnSp>
          <p:nvCxnSpPr>
            <p:cNvPr id="55" name="Gerade Verbindung mit Pfeil 54">
              <a:extLst>
                <a:ext uri="{FF2B5EF4-FFF2-40B4-BE49-F238E27FC236}">
                  <a16:creationId xmlns:a16="http://schemas.microsoft.com/office/drawing/2014/main" id="{FA0A0170-C11C-9E4C-A41A-8FC52913BD35}"/>
                </a:ext>
              </a:extLst>
            </p:cNvPr>
            <p:cNvCxnSpPr/>
            <p:nvPr/>
          </p:nvCxnSpPr>
          <p:spPr>
            <a:xfrm>
              <a:off x="3716777" y="1430893"/>
              <a:ext cx="360000" cy="1491"/>
            </a:xfrm>
            <a:prstGeom prst="straightConnector1">
              <a:avLst/>
            </a:prstGeom>
            <a:ln w="9525">
              <a:solidFill>
                <a:srgbClr val="0061A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mit Pfeil 55">
              <a:extLst>
                <a:ext uri="{FF2B5EF4-FFF2-40B4-BE49-F238E27FC236}">
                  <a16:creationId xmlns:a16="http://schemas.microsoft.com/office/drawing/2014/main" id="{FA0A0170-C11C-9E4C-A41A-8FC52913BD35}"/>
                </a:ext>
              </a:extLst>
            </p:cNvPr>
            <p:cNvCxnSpPr/>
            <p:nvPr/>
          </p:nvCxnSpPr>
          <p:spPr>
            <a:xfrm rot="10800000">
              <a:off x="3716777" y="1298527"/>
              <a:ext cx="360000" cy="1491"/>
            </a:xfrm>
            <a:prstGeom prst="straightConnector1">
              <a:avLst/>
            </a:prstGeom>
            <a:ln w="9525">
              <a:solidFill>
                <a:srgbClr val="0061A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Gruppieren 56"/>
          <p:cNvGrpSpPr/>
          <p:nvPr/>
        </p:nvGrpSpPr>
        <p:grpSpPr>
          <a:xfrm>
            <a:off x="6895120" y="4147951"/>
            <a:ext cx="479852" cy="178421"/>
            <a:chOff x="3716777" y="1298527"/>
            <a:chExt cx="360000" cy="133857"/>
          </a:xfrm>
        </p:grpSpPr>
        <p:cxnSp>
          <p:nvCxnSpPr>
            <p:cNvPr id="58" name="Gerade Verbindung mit Pfeil 57">
              <a:extLst>
                <a:ext uri="{FF2B5EF4-FFF2-40B4-BE49-F238E27FC236}">
                  <a16:creationId xmlns:a16="http://schemas.microsoft.com/office/drawing/2014/main" id="{FA0A0170-C11C-9E4C-A41A-8FC52913BD35}"/>
                </a:ext>
              </a:extLst>
            </p:cNvPr>
            <p:cNvCxnSpPr/>
            <p:nvPr/>
          </p:nvCxnSpPr>
          <p:spPr>
            <a:xfrm>
              <a:off x="3716777" y="1430893"/>
              <a:ext cx="360000" cy="1491"/>
            </a:xfrm>
            <a:prstGeom prst="straightConnector1">
              <a:avLst/>
            </a:prstGeom>
            <a:ln w="9525">
              <a:solidFill>
                <a:srgbClr val="0061A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mit Pfeil 58">
              <a:extLst>
                <a:ext uri="{FF2B5EF4-FFF2-40B4-BE49-F238E27FC236}">
                  <a16:creationId xmlns:a16="http://schemas.microsoft.com/office/drawing/2014/main" id="{FA0A0170-C11C-9E4C-A41A-8FC52913BD35}"/>
                </a:ext>
              </a:extLst>
            </p:cNvPr>
            <p:cNvCxnSpPr/>
            <p:nvPr/>
          </p:nvCxnSpPr>
          <p:spPr>
            <a:xfrm rot="10800000">
              <a:off x="3716777" y="1298527"/>
              <a:ext cx="360000" cy="1491"/>
            </a:xfrm>
            <a:prstGeom prst="straightConnector1">
              <a:avLst/>
            </a:prstGeom>
            <a:ln w="9525">
              <a:solidFill>
                <a:srgbClr val="0061A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" name="Gruppieren 59"/>
          <p:cNvGrpSpPr/>
          <p:nvPr/>
        </p:nvGrpSpPr>
        <p:grpSpPr>
          <a:xfrm>
            <a:off x="7175096" y="4958966"/>
            <a:ext cx="479852" cy="178421"/>
            <a:chOff x="3716777" y="1298527"/>
            <a:chExt cx="360000" cy="133857"/>
          </a:xfrm>
        </p:grpSpPr>
        <p:cxnSp>
          <p:nvCxnSpPr>
            <p:cNvPr id="61" name="Gerade Verbindung mit Pfeil 60">
              <a:extLst>
                <a:ext uri="{FF2B5EF4-FFF2-40B4-BE49-F238E27FC236}">
                  <a16:creationId xmlns:a16="http://schemas.microsoft.com/office/drawing/2014/main" id="{FA0A0170-C11C-9E4C-A41A-8FC52913BD35}"/>
                </a:ext>
              </a:extLst>
            </p:cNvPr>
            <p:cNvCxnSpPr/>
            <p:nvPr/>
          </p:nvCxnSpPr>
          <p:spPr>
            <a:xfrm>
              <a:off x="3716777" y="1430893"/>
              <a:ext cx="360000" cy="1491"/>
            </a:xfrm>
            <a:prstGeom prst="straightConnector1">
              <a:avLst/>
            </a:prstGeom>
            <a:ln w="9525">
              <a:solidFill>
                <a:srgbClr val="0061A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mit Pfeil 61">
              <a:extLst>
                <a:ext uri="{FF2B5EF4-FFF2-40B4-BE49-F238E27FC236}">
                  <a16:creationId xmlns:a16="http://schemas.microsoft.com/office/drawing/2014/main" id="{FA0A0170-C11C-9E4C-A41A-8FC52913BD35}"/>
                </a:ext>
              </a:extLst>
            </p:cNvPr>
            <p:cNvCxnSpPr/>
            <p:nvPr/>
          </p:nvCxnSpPr>
          <p:spPr>
            <a:xfrm rot="10800000">
              <a:off x="3716777" y="1298527"/>
              <a:ext cx="360000" cy="1491"/>
            </a:xfrm>
            <a:prstGeom prst="straightConnector1">
              <a:avLst/>
            </a:prstGeom>
            <a:ln w="9525">
              <a:solidFill>
                <a:srgbClr val="0061A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Gruppieren 62"/>
          <p:cNvGrpSpPr/>
          <p:nvPr/>
        </p:nvGrpSpPr>
        <p:grpSpPr>
          <a:xfrm>
            <a:off x="7635219" y="5758579"/>
            <a:ext cx="479852" cy="178421"/>
            <a:chOff x="3716777" y="1298527"/>
            <a:chExt cx="360000" cy="133857"/>
          </a:xfrm>
        </p:grpSpPr>
        <p:cxnSp>
          <p:nvCxnSpPr>
            <p:cNvPr id="64" name="Gerade Verbindung mit Pfeil 63">
              <a:extLst>
                <a:ext uri="{FF2B5EF4-FFF2-40B4-BE49-F238E27FC236}">
                  <a16:creationId xmlns:a16="http://schemas.microsoft.com/office/drawing/2014/main" id="{FA0A0170-C11C-9E4C-A41A-8FC52913BD35}"/>
                </a:ext>
              </a:extLst>
            </p:cNvPr>
            <p:cNvCxnSpPr/>
            <p:nvPr/>
          </p:nvCxnSpPr>
          <p:spPr>
            <a:xfrm>
              <a:off x="3716777" y="1430893"/>
              <a:ext cx="360000" cy="1491"/>
            </a:xfrm>
            <a:prstGeom prst="straightConnector1">
              <a:avLst/>
            </a:prstGeom>
            <a:ln w="9525">
              <a:solidFill>
                <a:srgbClr val="0061A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mit Pfeil 64">
              <a:extLst>
                <a:ext uri="{FF2B5EF4-FFF2-40B4-BE49-F238E27FC236}">
                  <a16:creationId xmlns:a16="http://schemas.microsoft.com/office/drawing/2014/main" id="{FA0A0170-C11C-9E4C-A41A-8FC52913BD35}"/>
                </a:ext>
              </a:extLst>
            </p:cNvPr>
            <p:cNvCxnSpPr/>
            <p:nvPr/>
          </p:nvCxnSpPr>
          <p:spPr>
            <a:xfrm rot="10800000">
              <a:off x="3716777" y="1298527"/>
              <a:ext cx="360000" cy="1491"/>
            </a:xfrm>
            <a:prstGeom prst="straightConnector1">
              <a:avLst/>
            </a:prstGeom>
            <a:ln w="9525">
              <a:solidFill>
                <a:srgbClr val="0061A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0" name="Gruppieren 79"/>
          <p:cNvGrpSpPr/>
          <p:nvPr/>
        </p:nvGrpSpPr>
        <p:grpSpPr>
          <a:xfrm>
            <a:off x="7789655" y="3828582"/>
            <a:ext cx="648000" cy="648000"/>
            <a:chOff x="9216139" y="2873822"/>
            <a:chExt cx="648000" cy="648000"/>
          </a:xfrm>
        </p:grpSpPr>
        <p:sp>
          <p:nvSpPr>
            <p:cNvPr id="81" name="Freeform: Shape 380">
              <a:extLst>
                <a:ext uri="{FF2B5EF4-FFF2-40B4-BE49-F238E27FC236}">
                  <a16:creationId xmlns:a16="http://schemas.microsoft.com/office/drawing/2014/main" id="{832FD4CD-81B1-424E-9309-E03B59C22A80}"/>
                </a:ext>
              </a:extLst>
            </p:cNvPr>
            <p:cNvSpPr/>
            <p:nvPr/>
          </p:nvSpPr>
          <p:spPr>
            <a:xfrm>
              <a:off x="9216139" y="2873822"/>
              <a:ext cx="648000" cy="648000"/>
            </a:xfrm>
            <a:custGeom>
              <a:avLst/>
              <a:gdLst>
                <a:gd name="connsiteX0" fmla="*/ 0 w 306268"/>
                <a:gd name="connsiteY0" fmla="*/ 0 h 306268"/>
                <a:gd name="connsiteX1" fmla="*/ 306269 w 306268"/>
                <a:gd name="connsiteY1" fmla="*/ 0 h 306268"/>
                <a:gd name="connsiteX2" fmla="*/ 306269 w 306268"/>
                <a:gd name="connsiteY2" fmla="*/ 306269 h 306268"/>
                <a:gd name="connsiteX3" fmla="*/ 0 w 306268"/>
                <a:gd name="connsiteY3" fmla="*/ 306269 h 3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268" h="306268">
                  <a:moveTo>
                    <a:pt x="0" y="0"/>
                  </a:moveTo>
                  <a:lnTo>
                    <a:pt x="306269" y="0"/>
                  </a:lnTo>
                  <a:lnTo>
                    <a:pt x="306269" y="306269"/>
                  </a:lnTo>
                  <a:lnTo>
                    <a:pt x="0" y="306269"/>
                  </a:lnTo>
                  <a:close/>
                </a:path>
              </a:pathLst>
            </a:custGeom>
            <a:noFill/>
            <a:ln w="19050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82" name="Freeform: Shape 381">
              <a:extLst>
                <a:ext uri="{FF2B5EF4-FFF2-40B4-BE49-F238E27FC236}">
                  <a16:creationId xmlns:a16="http://schemas.microsoft.com/office/drawing/2014/main" id="{1017F872-609E-46C2-93BF-FBD5A37C7B90}"/>
                </a:ext>
              </a:extLst>
            </p:cNvPr>
            <p:cNvSpPr/>
            <p:nvPr/>
          </p:nvSpPr>
          <p:spPr>
            <a:xfrm>
              <a:off x="9439721" y="3169425"/>
              <a:ext cx="200842" cy="164448"/>
            </a:xfrm>
            <a:custGeom>
              <a:avLst/>
              <a:gdLst>
                <a:gd name="connsiteX0" fmla="*/ 94925 w 94925"/>
                <a:gd name="connsiteY0" fmla="*/ 77725 h 77724"/>
                <a:gd name="connsiteX1" fmla="*/ 83204 w 94925"/>
                <a:gd name="connsiteY1" fmla="*/ 77725 h 77724"/>
                <a:gd name="connsiteX2" fmla="*/ 83204 w 94925"/>
                <a:gd name="connsiteY2" fmla="*/ 28551 h 77724"/>
                <a:gd name="connsiteX3" fmla="*/ 47458 w 94925"/>
                <a:gd name="connsiteY3" fmla="*/ 11720 h 77724"/>
                <a:gd name="connsiteX4" fmla="*/ 11720 w 94925"/>
                <a:gd name="connsiteY4" fmla="*/ 28551 h 77724"/>
                <a:gd name="connsiteX5" fmla="*/ 11720 w 94925"/>
                <a:gd name="connsiteY5" fmla="*/ 77725 h 77724"/>
                <a:gd name="connsiteX6" fmla="*/ 0 w 94925"/>
                <a:gd name="connsiteY6" fmla="*/ 77725 h 77724"/>
                <a:gd name="connsiteX7" fmla="*/ 0 w 94925"/>
                <a:gd name="connsiteY7" fmla="*/ 28551 h 77724"/>
                <a:gd name="connsiteX8" fmla="*/ 47458 w 94925"/>
                <a:gd name="connsiteY8" fmla="*/ 0 h 77724"/>
                <a:gd name="connsiteX9" fmla="*/ 94925 w 94925"/>
                <a:gd name="connsiteY9" fmla="*/ 28551 h 77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925" h="77724">
                  <a:moveTo>
                    <a:pt x="94925" y="77725"/>
                  </a:moveTo>
                  <a:lnTo>
                    <a:pt x="83204" y="77725"/>
                  </a:lnTo>
                  <a:lnTo>
                    <a:pt x="83204" y="28551"/>
                  </a:lnTo>
                  <a:cubicBezTo>
                    <a:pt x="83204" y="20910"/>
                    <a:pt x="61252" y="11720"/>
                    <a:pt x="47458" y="11720"/>
                  </a:cubicBezTo>
                  <a:cubicBezTo>
                    <a:pt x="33664" y="11720"/>
                    <a:pt x="11720" y="20910"/>
                    <a:pt x="11720" y="28551"/>
                  </a:cubicBezTo>
                  <a:lnTo>
                    <a:pt x="11720" y="77725"/>
                  </a:lnTo>
                  <a:lnTo>
                    <a:pt x="0" y="77725"/>
                  </a:lnTo>
                  <a:lnTo>
                    <a:pt x="0" y="28551"/>
                  </a:lnTo>
                  <a:cubicBezTo>
                    <a:pt x="0" y="10078"/>
                    <a:pt x="31346" y="0"/>
                    <a:pt x="47458" y="0"/>
                  </a:cubicBezTo>
                  <a:cubicBezTo>
                    <a:pt x="63569" y="0"/>
                    <a:pt x="94925" y="10078"/>
                    <a:pt x="94925" y="28551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83" name="Freeform: Shape 386">
              <a:extLst>
                <a:ext uri="{FF2B5EF4-FFF2-40B4-BE49-F238E27FC236}">
                  <a16:creationId xmlns:a16="http://schemas.microsoft.com/office/drawing/2014/main" id="{F64A1C8D-F2B2-4BEE-B717-00D8222D4ECA}"/>
                </a:ext>
              </a:extLst>
            </p:cNvPr>
            <p:cNvSpPr/>
            <p:nvPr/>
          </p:nvSpPr>
          <p:spPr>
            <a:xfrm>
              <a:off x="9375689" y="3065715"/>
              <a:ext cx="104841" cy="120518"/>
            </a:xfrm>
            <a:custGeom>
              <a:avLst/>
              <a:gdLst>
                <a:gd name="connsiteX0" fmla="*/ 24777 w 49552"/>
                <a:gd name="connsiteY0" fmla="*/ 56956 h 56961"/>
                <a:gd name="connsiteX1" fmla="*/ 6 w 49552"/>
                <a:gd name="connsiteY1" fmla="*/ 33281 h 56961"/>
                <a:gd name="connsiteX2" fmla="*/ 6 w 49552"/>
                <a:gd name="connsiteY2" fmla="*/ 32185 h 56961"/>
                <a:gd name="connsiteX3" fmla="*/ 6 w 49552"/>
                <a:gd name="connsiteY3" fmla="*/ 24617 h 56961"/>
                <a:gd name="connsiteX4" fmla="*/ 24930 w 49552"/>
                <a:gd name="connsiteY4" fmla="*/ 0 h 56961"/>
                <a:gd name="connsiteX5" fmla="*/ 49546 w 49552"/>
                <a:gd name="connsiteY5" fmla="*/ 24617 h 56961"/>
                <a:gd name="connsiteX6" fmla="*/ 49546 w 49552"/>
                <a:gd name="connsiteY6" fmla="*/ 32185 h 56961"/>
                <a:gd name="connsiteX7" fmla="*/ 25872 w 49552"/>
                <a:gd name="connsiteY7" fmla="*/ 56956 h 56961"/>
                <a:gd name="connsiteX8" fmla="*/ 24777 w 49552"/>
                <a:gd name="connsiteY8" fmla="*/ 56956 h 56961"/>
                <a:gd name="connsiteX9" fmla="*/ 24777 w 49552"/>
                <a:gd name="connsiteY9" fmla="*/ 11567 h 56961"/>
                <a:gd name="connsiteX10" fmla="*/ 11727 w 49552"/>
                <a:gd name="connsiteY10" fmla="*/ 23466 h 56961"/>
                <a:gd name="connsiteX11" fmla="*/ 11727 w 49552"/>
                <a:gd name="connsiteY11" fmla="*/ 24616 h 56961"/>
                <a:gd name="connsiteX12" fmla="*/ 11727 w 49552"/>
                <a:gd name="connsiteY12" fmla="*/ 32184 h 56961"/>
                <a:gd name="connsiteX13" fmla="*/ 24777 w 49552"/>
                <a:gd name="connsiteY13" fmla="*/ 45233 h 56961"/>
                <a:gd name="connsiteX14" fmla="*/ 37826 w 49552"/>
                <a:gd name="connsiteY14" fmla="*/ 32184 h 56961"/>
                <a:gd name="connsiteX15" fmla="*/ 37826 w 49552"/>
                <a:gd name="connsiteY15" fmla="*/ 24616 h 56961"/>
                <a:gd name="connsiteX16" fmla="*/ 25927 w 49552"/>
                <a:gd name="connsiteY16" fmla="*/ 11567 h 56961"/>
                <a:gd name="connsiteX17" fmla="*/ 24777 w 49552"/>
                <a:gd name="connsiteY17" fmla="*/ 11567 h 56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552" h="56961">
                  <a:moveTo>
                    <a:pt x="24777" y="56956"/>
                  </a:moveTo>
                  <a:cubicBezTo>
                    <a:pt x="11399" y="57258"/>
                    <a:pt x="309" y="46659"/>
                    <a:pt x="6" y="33281"/>
                  </a:cubicBezTo>
                  <a:cubicBezTo>
                    <a:pt x="-2" y="32916"/>
                    <a:pt x="-2" y="32550"/>
                    <a:pt x="6" y="32185"/>
                  </a:cubicBezTo>
                  <a:lnTo>
                    <a:pt x="6" y="24617"/>
                  </a:lnTo>
                  <a:cubicBezTo>
                    <a:pt x="90" y="10937"/>
                    <a:pt x="11249" y="-84"/>
                    <a:pt x="24930" y="0"/>
                  </a:cubicBezTo>
                  <a:cubicBezTo>
                    <a:pt x="38490" y="85"/>
                    <a:pt x="49462" y="11057"/>
                    <a:pt x="49546" y="24617"/>
                  </a:cubicBezTo>
                  <a:lnTo>
                    <a:pt x="49546" y="32185"/>
                  </a:lnTo>
                  <a:cubicBezTo>
                    <a:pt x="49849" y="45563"/>
                    <a:pt x="39250" y="56653"/>
                    <a:pt x="25872" y="56956"/>
                  </a:cubicBezTo>
                  <a:cubicBezTo>
                    <a:pt x="25507" y="56964"/>
                    <a:pt x="25142" y="56964"/>
                    <a:pt x="24777" y="56956"/>
                  </a:cubicBezTo>
                  <a:close/>
                  <a:moveTo>
                    <a:pt x="24777" y="11567"/>
                  </a:moveTo>
                  <a:cubicBezTo>
                    <a:pt x="17888" y="11249"/>
                    <a:pt x="12045" y="16577"/>
                    <a:pt x="11727" y="23466"/>
                  </a:cubicBezTo>
                  <a:cubicBezTo>
                    <a:pt x="11710" y="23849"/>
                    <a:pt x="11710" y="24233"/>
                    <a:pt x="11727" y="24616"/>
                  </a:cubicBezTo>
                  <a:lnTo>
                    <a:pt x="11727" y="32184"/>
                  </a:lnTo>
                  <a:cubicBezTo>
                    <a:pt x="11727" y="39391"/>
                    <a:pt x="17570" y="45233"/>
                    <a:pt x="24777" y="45233"/>
                  </a:cubicBezTo>
                  <a:cubicBezTo>
                    <a:pt x="31984" y="45233"/>
                    <a:pt x="37826" y="39391"/>
                    <a:pt x="37826" y="32184"/>
                  </a:cubicBezTo>
                  <a:lnTo>
                    <a:pt x="37826" y="24616"/>
                  </a:lnTo>
                  <a:cubicBezTo>
                    <a:pt x="38143" y="17727"/>
                    <a:pt x="32816" y="11885"/>
                    <a:pt x="25927" y="11567"/>
                  </a:cubicBezTo>
                  <a:cubicBezTo>
                    <a:pt x="25544" y="11549"/>
                    <a:pt x="25160" y="11549"/>
                    <a:pt x="24777" y="11567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84" name="Freeform: Shape 384">
              <a:extLst>
                <a:ext uri="{FF2B5EF4-FFF2-40B4-BE49-F238E27FC236}">
                  <a16:creationId xmlns:a16="http://schemas.microsoft.com/office/drawing/2014/main" id="{EDC1EDE1-6889-4A08-8D6F-C6D7CAB1BACB}"/>
                </a:ext>
              </a:extLst>
            </p:cNvPr>
            <p:cNvSpPr/>
            <p:nvPr/>
          </p:nvSpPr>
          <p:spPr>
            <a:xfrm>
              <a:off x="9599751" y="3065392"/>
              <a:ext cx="104845" cy="120843"/>
            </a:xfrm>
            <a:custGeom>
              <a:avLst/>
              <a:gdLst>
                <a:gd name="connsiteX0" fmla="*/ 24777 w 49553"/>
                <a:gd name="connsiteY0" fmla="*/ 57109 h 57115"/>
                <a:gd name="connsiteX1" fmla="*/ 6 w 49553"/>
                <a:gd name="connsiteY1" fmla="*/ 33433 h 57115"/>
                <a:gd name="connsiteX2" fmla="*/ 6 w 49553"/>
                <a:gd name="connsiteY2" fmla="*/ 32338 h 57115"/>
                <a:gd name="connsiteX3" fmla="*/ 6 w 49553"/>
                <a:gd name="connsiteY3" fmla="*/ 24771 h 57115"/>
                <a:gd name="connsiteX4" fmla="*/ 24776 w 49553"/>
                <a:gd name="connsiteY4" fmla="*/ 0 h 57115"/>
                <a:gd name="connsiteX5" fmla="*/ 49547 w 49553"/>
                <a:gd name="connsiteY5" fmla="*/ 24771 h 57115"/>
                <a:gd name="connsiteX6" fmla="*/ 49547 w 49553"/>
                <a:gd name="connsiteY6" fmla="*/ 32338 h 57115"/>
                <a:gd name="connsiteX7" fmla="*/ 25871 w 49553"/>
                <a:gd name="connsiteY7" fmla="*/ 57109 h 57115"/>
                <a:gd name="connsiteX8" fmla="*/ 24777 w 49553"/>
                <a:gd name="connsiteY8" fmla="*/ 57109 h 57115"/>
                <a:gd name="connsiteX9" fmla="*/ 24777 w 49553"/>
                <a:gd name="connsiteY9" fmla="*/ 11721 h 57115"/>
                <a:gd name="connsiteX10" fmla="*/ 11727 w 49553"/>
                <a:gd name="connsiteY10" fmla="*/ 23619 h 57115"/>
                <a:gd name="connsiteX11" fmla="*/ 11727 w 49553"/>
                <a:gd name="connsiteY11" fmla="*/ 24770 h 57115"/>
                <a:gd name="connsiteX12" fmla="*/ 11727 w 49553"/>
                <a:gd name="connsiteY12" fmla="*/ 32337 h 57115"/>
                <a:gd name="connsiteX13" fmla="*/ 24777 w 49553"/>
                <a:gd name="connsiteY13" fmla="*/ 45387 h 57115"/>
                <a:gd name="connsiteX14" fmla="*/ 37826 w 49553"/>
                <a:gd name="connsiteY14" fmla="*/ 32337 h 57115"/>
                <a:gd name="connsiteX15" fmla="*/ 37826 w 49553"/>
                <a:gd name="connsiteY15" fmla="*/ 24770 h 57115"/>
                <a:gd name="connsiteX16" fmla="*/ 25929 w 49553"/>
                <a:gd name="connsiteY16" fmla="*/ 11721 h 57115"/>
                <a:gd name="connsiteX17" fmla="*/ 24777 w 49553"/>
                <a:gd name="connsiteY17" fmla="*/ 11721 h 57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553" h="57115">
                  <a:moveTo>
                    <a:pt x="24777" y="57109"/>
                  </a:moveTo>
                  <a:cubicBezTo>
                    <a:pt x="11398" y="57411"/>
                    <a:pt x="308" y="46811"/>
                    <a:pt x="6" y="33433"/>
                  </a:cubicBezTo>
                  <a:cubicBezTo>
                    <a:pt x="-2" y="33068"/>
                    <a:pt x="-2" y="32703"/>
                    <a:pt x="6" y="32338"/>
                  </a:cubicBezTo>
                  <a:lnTo>
                    <a:pt x="6" y="24771"/>
                  </a:lnTo>
                  <a:cubicBezTo>
                    <a:pt x="6" y="11090"/>
                    <a:pt x="11096" y="0"/>
                    <a:pt x="24776" y="0"/>
                  </a:cubicBezTo>
                  <a:cubicBezTo>
                    <a:pt x="38457" y="0"/>
                    <a:pt x="49547" y="11090"/>
                    <a:pt x="49547" y="24771"/>
                  </a:cubicBezTo>
                  <a:lnTo>
                    <a:pt x="49547" y="32338"/>
                  </a:lnTo>
                  <a:cubicBezTo>
                    <a:pt x="49850" y="45717"/>
                    <a:pt x="39249" y="56807"/>
                    <a:pt x="25871" y="57109"/>
                  </a:cubicBezTo>
                  <a:cubicBezTo>
                    <a:pt x="25506" y="57117"/>
                    <a:pt x="25141" y="57117"/>
                    <a:pt x="24777" y="57109"/>
                  </a:cubicBezTo>
                  <a:close/>
                  <a:moveTo>
                    <a:pt x="24777" y="11721"/>
                  </a:moveTo>
                  <a:cubicBezTo>
                    <a:pt x="17888" y="11403"/>
                    <a:pt x="12045" y="16730"/>
                    <a:pt x="11727" y="23619"/>
                  </a:cubicBezTo>
                  <a:cubicBezTo>
                    <a:pt x="11710" y="24003"/>
                    <a:pt x="11710" y="24387"/>
                    <a:pt x="11727" y="24770"/>
                  </a:cubicBezTo>
                  <a:lnTo>
                    <a:pt x="11727" y="32337"/>
                  </a:lnTo>
                  <a:cubicBezTo>
                    <a:pt x="11727" y="39544"/>
                    <a:pt x="17570" y="45387"/>
                    <a:pt x="24777" y="45387"/>
                  </a:cubicBezTo>
                  <a:cubicBezTo>
                    <a:pt x="31984" y="45387"/>
                    <a:pt x="37826" y="39544"/>
                    <a:pt x="37826" y="32337"/>
                  </a:cubicBezTo>
                  <a:lnTo>
                    <a:pt x="37826" y="24770"/>
                  </a:lnTo>
                  <a:cubicBezTo>
                    <a:pt x="38144" y="17881"/>
                    <a:pt x="32817" y="12039"/>
                    <a:pt x="25929" y="11721"/>
                  </a:cubicBezTo>
                  <a:cubicBezTo>
                    <a:pt x="25545" y="11703"/>
                    <a:pt x="25160" y="11703"/>
                    <a:pt x="24777" y="11721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85" name="Freeform: Shape 382">
              <a:extLst>
                <a:ext uri="{FF2B5EF4-FFF2-40B4-BE49-F238E27FC236}">
                  <a16:creationId xmlns:a16="http://schemas.microsoft.com/office/drawing/2014/main" id="{21EC762B-F8D2-49B2-BF25-C6626771EE29}"/>
                </a:ext>
              </a:extLst>
            </p:cNvPr>
            <p:cNvSpPr/>
            <p:nvPr/>
          </p:nvSpPr>
          <p:spPr>
            <a:xfrm>
              <a:off x="9487712" y="3049065"/>
              <a:ext cx="104841" cy="121157"/>
            </a:xfrm>
            <a:custGeom>
              <a:avLst/>
              <a:gdLst>
                <a:gd name="connsiteX0" fmla="*/ 24777 w 49552"/>
                <a:gd name="connsiteY0" fmla="*/ 57257 h 57263"/>
                <a:gd name="connsiteX1" fmla="*/ 6 w 49552"/>
                <a:gd name="connsiteY1" fmla="*/ 33585 h 57263"/>
                <a:gd name="connsiteX2" fmla="*/ 6 w 49552"/>
                <a:gd name="connsiteY2" fmla="*/ 32486 h 57263"/>
                <a:gd name="connsiteX3" fmla="*/ 6 w 49552"/>
                <a:gd name="connsiteY3" fmla="*/ 24924 h 57263"/>
                <a:gd name="connsiteX4" fmla="*/ 24623 w 49552"/>
                <a:gd name="connsiteY4" fmla="*/ 0 h 57263"/>
                <a:gd name="connsiteX5" fmla="*/ 49547 w 49552"/>
                <a:gd name="connsiteY5" fmla="*/ 24617 h 57263"/>
                <a:gd name="connsiteX6" fmla="*/ 49547 w 49552"/>
                <a:gd name="connsiteY6" fmla="*/ 24924 h 57263"/>
                <a:gd name="connsiteX7" fmla="*/ 49546 w 49552"/>
                <a:gd name="connsiteY7" fmla="*/ 32486 h 57263"/>
                <a:gd name="connsiteX8" fmla="*/ 25874 w 49552"/>
                <a:gd name="connsiteY8" fmla="*/ 57257 h 57263"/>
                <a:gd name="connsiteX9" fmla="*/ 24776 w 49552"/>
                <a:gd name="connsiteY9" fmla="*/ 57257 h 57263"/>
                <a:gd name="connsiteX10" fmla="*/ 24777 w 49552"/>
                <a:gd name="connsiteY10" fmla="*/ 11874 h 57263"/>
                <a:gd name="connsiteX11" fmla="*/ 11727 w 49552"/>
                <a:gd name="connsiteY11" fmla="*/ 23773 h 57263"/>
                <a:gd name="connsiteX12" fmla="*/ 11727 w 49552"/>
                <a:gd name="connsiteY12" fmla="*/ 24923 h 57263"/>
                <a:gd name="connsiteX13" fmla="*/ 11727 w 49552"/>
                <a:gd name="connsiteY13" fmla="*/ 32485 h 57263"/>
                <a:gd name="connsiteX14" fmla="*/ 24777 w 49552"/>
                <a:gd name="connsiteY14" fmla="*/ 45535 h 57263"/>
                <a:gd name="connsiteX15" fmla="*/ 37826 w 49552"/>
                <a:gd name="connsiteY15" fmla="*/ 32485 h 57263"/>
                <a:gd name="connsiteX16" fmla="*/ 37826 w 49552"/>
                <a:gd name="connsiteY16" fmla="*/ 24923 h 57263"/>
                <a:gd name="connsiteX17" fmla="*/ 25927 w 49552"/>
                <a:gd name="connsiteY17" fmla="*/ 11874 h 57263"/>
                <a:gd name="connsiteX18" fmla="*/ 24777 w 49552"/>
                <a:gd name="connsiteY18" fmla="*/ 11874 h 57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9552" h="57263">
                  <a:moveTo>
                    <a:pt x="24777" y="57257"/>
                  </a:moveTo>
                  <a:cubicBezTo>
                    <a:pt x="11400" y="57560"/>
                    <a:pt x="309" y="46962"/>
                    <a:pt x="6" y="33585"/>
                  </a:cubicBezTo>
                  <a:cubicBezTo>
                    <a:pt x="-2" y="33219"/>
                    <a:pt x="-2" y="32852"/>
                    <a:pt x="6" y="32486"/>
                  </a:cubicBezTo>
                  <a:lnTo>
                    <a:pt x="6" y="24924"/>
                  </a:lnTo>
                  <a:cubicBezTo>
                    <a:pt x="-79" y="11244"/>
                    <a:pt x="10943" y="85"/>
                    <a:pt x="24623" y="0"/>
                  </a:cubicBezTo>
                  <a:cubicBezTo>
                    <a:pt x="38303" y="-84"/>
                    <a:pt x="49462" y="10937"/>
                    <a:pt x="49547" y="24617"/>
                  </a:cubicBezTo>
                  <a:cubicBezTo>
                    <a:pt x="49547" y="24720"/>
                    <a:pt x="49547" y="24822"/>
                    <a:pt x="49547" y="24924"/>
                  </a:cubicBezTo>
                  <a:lnTo>
                    <a:pt x="49546" y="32486"/>
                  </a:lnTo>
                  <a:cubicBezTo>
                    <a:pt x="49850" y="45863"/>
                    <a:pt x="39251" y="56954"/>
                    <a:pt x="25874" y="57257"/>
                  </a:cubicBezTo>
                  <a:cubicBezTo>
                    <a:pt x="25508" y="57265"/>
                    <a:pt x="25142" y="57265"/>
                    <a:pt x="24776" y="57257"/>
                  </a:cubicBezTo>
                  <a:close/>
                  <a:moveTo>
                    <a:pt x="24777" y="11874"/>
                  </a:moveTo>
                  <a:cubicBezTo>
                    <a:pt x="17888" y="11556"/>
                    <a:pt x="12045" y="16884"/>
                    <a:pt x="11727" y="23773"/>
                  </a:cubicBezTo>
                  <a:cubicBezTo>
                    <a:pt x="11710" y="24156"/>
                    <a:pt x="11710" y="24540"/>
                    <a:pt x="11727" y="24923"/>
                  </a:cubicBezTo>
                  <a:lnTo>
                    <a:pt x="11727" y="32485"/>
                  </a:lnTo>
                  <a:cubicBezTo>
                    <a:pt x="11727" y="39692"/>
                    <a:pt x="17570" y="45535"/>
                    <a:pt x="24777" y="45535"/>
                  </a:cubicBezTo>
                  <a:cubicBezTo>
                    <a:pt x="31984" y="45535"/>
                    <a:pt x="37826" y="39692"/>
                    <a:pt x="37826" y="32485"/>
                  </a:cubicBezTo>
                  <a:lnTo>
                    <a:pt x="37826" y="24923"/>
                  </a:lnTo>
                  <a:cubicBezTo>
                    <a:pt x="38143" y="18034"/>
                    <a:pt x="32816" y="12192"/>
                    <a:pt x="25927" y="11874"/>
                  </a:cubicBezTo>
                  <a:cubicBezTo>
                    <a:pt x="25544" y="11856"/>
                    <a:pt x="25160" y="11856"/>
                    <a:pt x="24777" y="11874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86" name="Freeform: Shape 383">
              <a:extLst>
                <a:ext uri="{FF2B5EF4-FFF2-40B4-BE49-F238E27FC236}">
                  <a16:creationId xmlns:a16="http://schemas.microsoft.com/office/drawing/2014/main" id="{30220621-427A-46A7-AEF1-E7DC22B439B3}"/>
                </a:ext>
              </a:extLst>
            </p:cNvPr>
            <p:cNvSpPr/>
            <p:nvPr/>
          </p:nvSpPr>
          <p:spPr>
            <a:xfrm>
              <a:off x="9636157" y="3185433"/>
              <a:ext cx="100428" cy="140422"/>
            </a:xfrm>
            <a:custGeom>
              <a:avLst/>
              <a:gdLst>
                <a:gd name="connsiteX0" fmla="*/ 47465 w 47466"/>
                <a:gd name="connsiteY0" fmla="*/ 66368 h 66368"/>
                <a:gd name="connsiteX1" fmla="*/ 35745 w 47466"/>
                <a:gd name="connsiteY1" fmla="*/ 66368 h 66368"/>
                <a:gd name="connsiteX2" fmla="*/ 35745 w 47466"/>
                <a:gd name="connsiteY2" fmla="*/ 28547 h 66368"/>
                <a:gd name="connsiteX3" fmla="*/ 3785 w 47466"/>
                <a:gd name="connsiteY3" fmla="*/ 11716 h 66368"/>
                <a:gd name="connsiteX4" fmla="*/ 0 w 47466"/>
                <a:gd name="connsiteY4" fmla="*/ 11716 h 66368"/>
                <a:gd name="connsiteX5" fmla="*/ 0 w 47466"/>
                <a:gd name="connsiteY5" fmla="*/ 0 h 66368"/>
                <a:gd name="connsiteX6" fmla="*/ 3786 w 47466"/>
                <a:gd name="connsiteY6" fmla="*/ 0 h 66368"/>
                <a:gd name="connsiteX7" fmla="*/ 47467 w 47466"/>
                <a:gd name="connsiteY7" fmla="*/ 28552 h 66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466" h="66368">
                  <a:moveTo>
                    <a:pt x="47465" y="66368"/>
                  </a:moveTo>
                  <a:lnTo>
                    <a:pt x="35745" y="66368"/>
                  </a:lnTo>
                  <a:lnTo>
                    <a:pt x="35745" y="28547"/>
                  </a:lnTo>
                  <a:cubicBezTo>
                    <a:pt x="35745" y="21283"/>
                    <a:pt x="15647" y="11716"/>
                    <a:pt x="3785" y="11716"/>
                  </a:cubicBezTo>
                  <a:lnTo>
                    <a:pt x="0" y="11716"/>
                  </a:lnTo>
                  <a:lnTo>
                    <a:pt x="0" y="0"/>
                  </a:lnTo>
                  <a:lnTo>
                    <a:pt x="3786" y="0"/>
                  </a:lnTo>
                  <a:cubicBezTo>
                    <a:pt x="18781" y="0"/>
                    <a:pt x="47467" y="11120"/>
                    <a:pt x="47467" y="28552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87" name="Freeform: Shape 385">
              <a:extLst>
                <a:ext uri="{FF2B5EF4-FFF2-40B4-BE49-F238E27FC236}">
                  <a16:creationId xmlns:a16="http://schemas.microsoft.com/office/drawing/2014/main" id="{A899EE9E-B096-4E0C-8665-B90651F4F604}"/>
                </a:ext>
              </a:extLst>
            </p:cNvPr>
            <p:cNvSpPr/>
            <p:nvPr/>
          </p:nvSpPr>
          <p:spPr>
            <a:xfrm>
              <a:off x="9343701" y="3185423"/>
              <a:ext cx="100409" cy="140431"/>
            </a:xfrm>
            <a:custGeom>
              <a:avLst/>
              <a:gdLst>
                <a:gd name="connsiteX0" fmla="*/ 11721 w 47457"/>
                <a:gd name="connsiteY0" fmla="*/ 66373 h 66373"/>
                <a:gd name="connsiteX1" fmla="*/ 0 w 47457"/>
                <a:gd name="connsiteY1" fmla="*/ 66373 h 66373"/>
                <a:gd name="connsiteX2" fmla="*/ 0 w 47457"/>
                <a:gd name="connsiteY2" fmla="*/ 28552 h 66373"/>
                <a:gd name="connsiteX3" fmla="*/ 43681 w 47457"/>
                <a:gd name="connsiteY3" fmla="*/ 0 h 66373"/>
                <a:gd name="connsiteX4" fmla="*/ 47458 w 47457"/>
                <a:gd name="connsiteY4" fmla="*/ 0 h 66373"/>
                <a:gd name="connsiteX5" fmla="*/ 47458 w 47457"/>
                <a:gd name="connsiteY5" fmla="*/ 11716 h 66373"/>
                <a:gd name="connsiteX6" fmla="*/ 43681 w 47457"/>
                <a:gd name="connsiteY6" fmla="*/ 11716 h 66373"/>
                <a:gd name="connsiteX7" fmla="*/ 11721 w 47457"/>
                <a:gd name="connsiteY7" fmla="*/ 28547 h 66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457" h="66373">
                  <a:moveTo>
                    <a:pt x="11721" y="66373"/>
                  </a:moveTo>
                  <a:lnTo>
                    <a:pt x="0" y="66373"/>
                  </a:lnTo>
                  <a:lnTo>
                    <a:pt x="0" y="28552"/>
                  </a:lnTo>
                  <a:cubicBezTo>
                    <a:pt x="0" y="11121"/>
                    <a:pt x="28687" y="0"/>
                    <a:pt x="43681" y="0"/>
                  </a:cubicBezTo>
                  <a:lnTo>
                    <a:pt x="47458" y="0"/>
                  </a:lnTo>
                  <a:lnTo>
                    <a:pt x="47458" y="11716"/>
                  </a:lnTo>
                  <a:lnTo>
                    <a:pt x="43681" y="11716"/>
                  </a:lnTo>
                  <a:cubicBezTo>
                    <a:pt x="31821" y="11716"/>
                    <a:pt x="11721" y="21283"/>
                    <a:pt x="11721" y="28547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</p:grpSp>
      <p:grpSp>
        <p:nvGrpSpPr>
          <p:cNvPr id="88" name="Gruppieren 87"/>
          <p:cNvGrpSpPr/>
          <p:nvPr/>
        </p:nvGrpSpPr>
        <p:grpSpPr>
          <a:xfrm>
            <a:off x="8113662" y="4648999"/>
            <a:ext cx="648000" cy="648000"/>
            <a:chOff x="9216139" y="2873822"/>
            <a:chExt cx="648000" cy="648000"/>
          </a:xfrm>
        </p:grpSpPr>
        <p:sp>
          <p:nvSpPr>
            <p:cNvPr id="89" name="Freeform: Shape 380">
              <a:extLst>
                <a:ext uri="{FF2B5EF4-FFF2-40B4-BE49-F238E27FC236}">
                  <a16:creationId xmlns:a16="http://schemas.microsoft.com/office/drawing/2014/main" id="{832FD4CD-81B1-424E-9309-E03B59C22A80}"/>
                </a:ext>
              </a:extLst>
            </p:cNvPr>
            <p:cNvSpPr/>
            <p:nvPr/>
          </p:nvSpPr>
          <p:spPr>
            <a:xfrm>
              <a:off x="9216139" y="2873822"/>
              <a:ext cx="648000" cy="648000"/>
            </a:xfrm>
            <a:custGeom>
              <a:avLst/>
              <a:gdLst>
                <a:gd name="connsiteX0" fmla="*/ 0 w 306268"/>
                <a:gd name="connsiteY0" fmla="*/ 0 h 306268"/>
                <a:gd name="connsiteX1" fmla="*/ 306269 w 306268"/>
                <a:gd name="connsiteY1" fmla="*/ 0 h 306268"/>
                <a:gd name="connsiteX2" fmla="*/ 306269 w 306268"/>
                <a:gd name="connsiteY2" fmla="*/ 306269 h 306268"/>
                <a:gd name="connsiteX3" fmla="*/ 0 w 306268"/>
                <a:gd name="connsiteY3" fmla="*/ 306269 h 3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268" h="306268">
                  <a:moveTo>
                    <a:pt x="0" y="0"/>
                  </a:moveTo>
                  <a:lnTo>
                    <a:pt x="306269" y="0"/>
                  </a:lnTo>
                  <a:lnTo>
                    <a:pt x="306269" y="306269"/>
                  </a:lnTo>
                  <a:lnTo>
                    <a:pt x="0" y="306269"/>
                  </a:lnTo>
                  <a:close/>
                </a:path>
              </a:pathLst>
            </a:custGeom>
            <a:noFill/>
            <a:ln w="19050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90" name="Freeform: Shape 381">
              <a:extLst>
                <a:ext uri="{FF2B5EF4-FFF2-40B4-BE49-F238E27FC236}">
                  <a16:creationId xmlns:a16="http://schemas.microsoft.com/office/drawing/2014/main" id="{1017F872-609E-46C2-93BF-FBD5A37C7B90}"/>
                </a:ext>
              </a:extLst>
            </p:cNvPr>
            <p:cNvSpPr/>
            <p:nvPr/>
          </p:nvSpPr>
          <p:spPr>
            <a:xfrm>
              <a:off x="9439721" y="3169425"/>
              <a:ext cx="200842" cy="164448"/>
            </a:xfrm>
            <a:custGeom>
              <a:avLst/>
              <a:gdLst>
                <a:gd name="connsiteX0" fmla="*/ 94925 w 94925"/>
                <a:gd name="connsiteY0" fmla="*/ 77725 h 77724"/>
                <a:gd name="connsiteX1" fmla="*/ 83204 w 94925"/>
                <a:gd name="connsiteY1" fmla="*/ 77725 h 77724"/>
                <a:gd name="connsiteX2" fmla="*/ 83204 w 94925"/>
                <a:gd name="connsiteY2" fmla="*/ 28551 h 77724"/>
                <a:gd name="connsiteX3" fmla="*/ 47458 w 94925"/>
                <a:gd name="connsiteY3" fmla="*/ 11720 h 77724"/>
                <a:gd name="connsiteX4" fmla="*/ 11720 w 94925"/>
                <a:gd name="connsiteY4" fmla="*/ 28551 h 77724"/>
                <a:gd name="connsiteX5" fmla="*/ 11720 w 94925"/>
                <a:gd name="connsiteY5" fmla="*/ 77725 h 77724"/>
                <a:gd name="connsiteX6" fmla="*/ 0 w 94925"/>
                <a:gd name="connsiteY6" fmla="*/ 77725 h 77724"/>
                <a:gd name="connsiteX7" fmla="*/ 0 w 94925"/>
                <a:gd name="connsiteY7" fmla="*/ 28551 h 77724"/>
                <a:gd name="connsiteX8" fmla="*/ 47458 w 94925"/>
                <a:gd name="connsiteY8" fmla="*/ 0 h 77724"/>
                <a:gd name="connsiteX9" fmla="*/ 94925 w 94925"/>
                <a:gd name="connsiteY9" fmla="*/ 28551 h 77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925" h="77724">
                  <a:moveTo>
                    <a:pt x="94925" y="77725"/>
                  </a:moveTo>
                  <a:lnTo>
                    <a:pt x="83204" y="77725"/>
                  </a:lnTo>
                  <a:lnTo>
                    <a:pt x="83204" y="28551"/>
                  </a:lnTo>
                  <a:cubicBezTo>
                    <a:pt x="83204" y="20910"/>
                    <a:pt x="61252" y="11720"/>
                    <a:pt x="47458" y="11720"/>
                  </a:cubicBezTo>
                  <a:cubicBezTo>
                    <a:pt x="33664" y="11720"/>
                    <a:pt x="11720" y="20910"/>
                    <a:pt x="11720" y="28551"/>
                  </a:cubicBezTo>
                  <a:lnTo>
                    <a:pt x="11720" y="77725"/>
                  </a:lnTo>
                  <a:lnTo>
                    <a:pt x="0" y="77725"/>
                  </a:lnTo>
                  <a:lnTo>
                    <a:pt x="0" y="28551"/>
                  </a:lnTo>
                  <a:cubicBezTo>
                    <a:pt x="0" y="10078"/>
                    <a:pt x="31346" y="0"/>
                    <a:pt x="47458" y="0"/>
                  </a:cubicBezTo>
                  <a:cubicBezTo>
                    <a:pt x="63569" y="0"/>
                    <a:pt x="94925" y="10078"/>
                    <a:pt x="94925" y="28551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91" name="Freeform: Shape 386">
              <a:extLst>
                <a:ext uri="{FF2B5EF4-FFF2-40B4-BE49-F238E27FC236}">
                  <a16:creationId xmlns:a16="http://schemas.microsoft.com/office/drawing/2014/main" id="{F64A1C8D-F2B2-4BEE-B717-00D8222D4ECA}"/>
                </a:ext>
              </a:extLst>
            </p:cNvPr>
            <p:cNvSpPr/>
            <p:nvPr/>
          </p:nvSpPr>
          <p:spPr>
            <a:xfrm>
              <a:off x="9375689" y="3065715"/>
              <a:ext cx="104841" cy="120518"/>
            </a:xfrm>
            <a:custGeom>
              <a:avLst/>
              <a:gdLst>
                <a:gd name="connsiteX0" fmla="*/ 24777 w 49552"/>
                <a:gd name="connsiteY0" fmla="*/ 56956 h 56961"/>
                <a:gd name="connsiteX1" fmla="*/ 6 w 49552"/>
                <a:gd name="connsiteY1" fmla="*/ 33281 h 56961"/>
                <a:gd name="connsiteX2" fmla="*/ 6 w 49552"/>
                <a:gd name="connsiteY2" fmla="*/ 32185 h 56961"/>
                <a:gd name="connsiteX3" fmla="*/ 6 w 49552"/>
                <a:gd name="connsiteY3" fmla="*/ 24617 h 56961"/>
                <a:gd name="connsiteX4" fmla="*/ 24930 w 49552"/>
                <a:gd name="connsiteY4" fmla="*/ 0 h 56961"/>
                <a:gd name="connsiteX5" fmla="*/ 49546 w 49552"/>
                <a:gd name="connsiteY5" fmla="*/ 24617 h 56961"/>
                <a:gd name="connsiteX6" fmla="*/ 49546 w 49552"/>
                <a:gd name="connsiteY6" fmla="*/ 32185 h 56961"/>
                <a:gd name="connsiteX7" fmla="*/ 25872 w 49552"/>
                <a:gd name="connsiteY7" fmla="*/ 56956 h 56961"/>
                <a:gd name="connsiteX8" fmla="*/ 24777 w 49552"/>
                <a:gd name="connsiteY8" fmla="*/ 56956 h 56961"/>
                <a:gd name="connsiteX9" fmla="*/ 24777 w 49552"/>
                <a:gd name="connsiteY9" fmla="*/ 11567 h 56961"/>
                <a:gd name="connsiteX10" fmla="*/ 11727 w 49552"/>
                <a:gd name="connsiteY10" fmla="*/ 23466 h 56961"/>
                <a:gd name="connsiteX11" fmla="*/ 11727 w 49552"/>
                <a:gd name="connsiteY11" fmla="*/ 24616 h 56961"/>
                <a:gd name="connsiteX12" fmla="*/ 11727 w 49552"/>
                <a:gd name="connsiteY12" fmla="*/ 32184 h 56961"/>
                <a:gd name="connsiteX13" fmla="*/ 24777 w 49552"/>
                <a:gd name="connsiteY13" fmla="*/ 45233 h 56961"/>
                <a:gd name="connsiteX14" fmla="*/ 37826 w 49552"/>
                <a:gd name="connsiteY14" fmla="*/ 32184 h 56961"/>
                <a:gd name="connsiteX15" fmla="*/ 37826 w 49552"/>
                <a:gd name="connsiteY15" fmla="*/ 24616 h 56961"/>
                <a:gd name="connsiteX16" fmla="*/ 25927 w 49552"/>
                <a:gd name="connsiteY16" fmla="*/ 11567 h 56961"/>
                <a:gd name="connsiteX17" fmla="*/ 24777 w 49552"/>
                <a:gd name="connsiteY17" fmla="*/ 11567 h 56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552" h="56961">
                  <a:moveTo>
                    <a:pt x="24777" y="56956"/>
                  </a:moveTo>
                  <a:cubicBezTo>
                    <a:pt x="11399" y="57258"/>
                    <a:pt x="309" y="46659"/>
                    <a:pt x="6" y="33281"/>
                  </a:cubicBezTo>
                  <a:cubicBezTo>
                    <a:pt x="-2" y="32916"/>
                    <a:pt x="-2" y="32550"/>
                    <a:pt x="6" y="32185"/>
                  </a:cubicBezTo>
                  <a:lnTo>
                    <a:pt x="6" y="24617"/>
                  </a:lnTo>
                  <a:cubicBezTo>
                    <a:pt x="90" y="10937"/>
                    <a:pt x="11249" y="-84"/>
                    <a:pt x="24930" y="0"/>
                  </a:cubicBezTo>
                  <a:cubicBezTo>
                    <a:pt x="38490" y="85"/>
                    <a:pt x="49462" y="11057"/>
                    <a:pt x="49546" y="24617"/>
                  </a:cubicBezTo>
                  <a:lnTo>
                    <a:pt x="49546" y="32185"/>
                  </a:lnTo>
                  <a:cubicBezTo>
                    <a:pt x="49849" y="45563"/>
                    <a:pt x="39250" y="56653"/>
                    <a:pt x="25872" y="56956"/>
                  </a:cubicBezTo>
                  <a:cubicBezTo>
                    <a:pt x="25507" y="56964"/>
                    <a:pt x="25142" y="56964"/>
                    <a:pt x="24777" y="56956"/>
                  </a:cubicBezTo>
                  <a:close/>
                  <a:moveTo>
                    <a:pt x="24777" y="11567"/>
                  </a:moveTo>
                  <a:cubicBezTo>
                    <a:pt x="17888" y="11249"/>
                    <a:pt x="12045" y="16577"/>
                    <a:pt x="11727" y="23466"/>
                  </a:cubicBezTo>
                  <a:cubicBezTo>
                    <a:pt x="11710" y="23849"/>
                    <a:pt x="11710" y="24233"/>
                    <a:pt x="11727" y="24616"/>
                  </a:cubicBezTo>
                  <a:lnTo>
                    <a:pt x="11727" y="32184"/>
                  </a:lnTo>
                  <a:cubicBezTo>
                    <a:pt x="11727" y="39391"/>
                    <a:pt x="17570" y="45233"/>
                    <a:pt x="24777" y="45233"/>
                  </a:cubicBezTo>
                  <a:cubicBezTo>
                    <a:pt x="31984" y="45233"/>
                    <a:pt x="37826" y="39391"/>
                    <a:pt x="37826" y="32184"/>
                  </a:cubicBezTo>
                  <a:lnTo>
                    <a:pt x="37826" y="24616"/>
                  </a:lnTo>
                  <a:cubicBezTo>
                    <a:pt x="38143" y="17727"/>
                    <a:pt x="32816" y="11885"/>
                    <a:pt x="25927" y="11567"/>
                  </a:cubicBezTo>
                  <a:cubicBezTo>
                    <a:pt x="25544" y="11549"/>
                    <a:pt x="25160" y="11549"/>
                    <a:pt x="24777" y="11567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92" name="Freeform: Shape 384">
              <a:extLst>
                <a:ext uri="{FF2B5EF4-FFF2-40B4-BE49-F238E27FC236}">
                  <a16:creationId xmlns:a16="http://schemas.microsoft.com/office/drawing/2014/main" id="{EDC1EDE1-6889-4A08-8D6F-C6D7CAB1BACB}"/>
                </a:ext>
              </a:extLst>
            </p:cNvPr>
            <p:cNvSpPr/>
            <p:nvPr/>
          </p:nvSpPr>
          <p:spPr>
            <a:xfrm>
              <a:off x="9599751" y="3065392"/>
              <a:ext cx="104845" cy="120843"/>
            </a:xfrm>
            <a:custGeom>
              <a:avLst/>
              <a:gdLst>
                <a:gd name="connsiteX0" fmla="*/ 24777 w 49553"/>
                <a:gd name="connsiteY0" fmla="*/ 57109 h 57115"/>
                <a:gd name="connsiteX1" fmla="*/ 6 w 49553"/>
                <a:gd name="connsiteY1" fmla="*/ 33433 h 57115"/>
                <a:gd name="connsiteX2" fmla="*/ 6 w 49553"/>
                <a:gd name="connsiteY2" fmla="*/ 32338 h 57115"/>
                <a:gd name="connsiteX3" fmla="*/ 6 w 49553"/>
                <a:gd name="connsiteY3" fmla="*/ 24771 h 57115"/>
                <a:gd name="connsiteX4" fmla="*/ 24776 w 49553"/>
                <a:gd name="connsiteY4" fmla="*/ 0 h 57115"/>
                <a:gd name="connsiteX5" fmla="*/ 49547 w 49553"/>
                <a:gd name="connsiteY5" fmla="*/ 24771 h 57115"/>
                <a:gd name="connsiteX6" fmla="*/ 49547 w 49553"/>
                <a:gd name="connsiteY6" fmla="*/ 32338 h 57115"/>
                <a:gd name="connsiteX7" fmla="*/ 25871 w 49553"/>
                <a:gd name="connsiteY7" fmla="*/ 57109 h 57115"/>
                <a:gd name="connsiteX8" fmla="*/ 24777 w 49553"/>
                <a:gd name="connsiteY8" fmla="*/ 57109 h 57115"/>
                <a:gd name="connsiteX9" fmla="*/ 24777 w 49553"/>
                <a:gd name="connsiteY9" fmla="*/ 11721 h 57115"/>
                <a:gd name="connsiteX10" fmla="*/ 11727 w 49553"/>
                <a:gd name="connsiteY10" fmla="*/ 23619 h 57115"/>
                <a:gd name="connsiteX11" fmla="*/ 11727 w 49553"/>
                <a:gd name="connsiteY11" fmla="*/ 24770 h 57115"/>
                <a:gd name="connsiteX12" fmla="*/ 11727 w 49553"/>
                <a:gd name="connsiteY12" fmla="*/ 32337 h 57115"/>
                <a:gd name="connsiteX13" fmla="*/ 24777 w 49553"/>
                <a:gd name="connsiteY13" fmla="*/ 45387 h 57115"/>
                <a:gd name="connsiteX14" fmla="*/ 37826 w 49553"/>
                <a:gd name="connsiteY14" fmla="*/ 32337 h 57115"/>
                <a:gd name="connsiteX15" fmla="*/ 37826 w 49553"/>
                <a:gd name="connsiteY15" fmla="*/ 24770 h 57115"/>
                <a:gd name="connsiteX16" fmla="*/ 25929 w 49553"/>
                <a:gd name="connsiteY16" fmla="*/ 11721 h 57115"/>
                <a:gd name="connsiteX17" fmla="*/ 24777 w 49553"/>
                <a:gd name="connsiteY17" fmla="*/ 11721 h 57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553" h="57115">
                  <a:moveTo>
                    <a:pt x="24777" y="57109"/>
                  </a:moveTo>
                  <a:cubicBezTo>
                    <a:pt x="11398" y="57411"/>
                    <a:pt x="308" y="46811"/>
                    <a:pt x="6" y="33433"/>
                  </a:cubicBezTo>
                  <a:cubicBezTo>
                    <a:pt x="-2" y="33068"/>
                    <a:pt x="-2" y="32703"/>
                    <a:pt x="6" y="32338"/>
                  </a:cubicBezTo>
                  <a:lnTo>
                    <a:pt x="6" y="24771"/>
                  </a:lnTo>
                  <a:cubicBezTo>
                    <a:pt x="6" y="11090"/>
                    <a:pt x="11096" y="0"/>
                    <a:pt x="24776" y="0"/>
                  </a:cubicBezTo>
                  <a:cubicBezTo>
                    <a:pt x="38457" y="0"/>
                    <a:pt x="49547" y="11090"/>
                    <a:pt x="49547" y="24771"/>
                  </a:cubicBezTo>
                  <a:lnTo>
                    <a:pt x="49547" y="32338"/>
                  </a:lnTo>
                  <a:cubicBezTo>
                    <a:pt x="49850" y="45717"/>
                    <a:pt x="39249" y="56807"/>
                    <a:pt x="25871" y="57109"/>
                  </a:cubicBezTo>
                  <a:cubicBezTo>
                    <a:pt x="25506" y="57117"/>
                    <a:pt x="25141" y="57117"/>
                    <a:pt x="24777" y="57109"/>
                  </a:cubicBezTo>
                  <a:close/>
                  <a:moveTo>
                    <a:pt x="24777" y="11721"/>
                  </a:moveTo>
                  <a:cubicBezTo>
                    <a:pt x="17888" y="11403"/>
                    <a:pt x="12045" y="16730"/>
                    <a:pt x="11727" y="23619"/>
                  </a:cubicBezTo>
                  <a:cubicBezTo>
                    <a:pt x="11710" y="24003"/>
                    <a:pt x="11710" y="24387"/>
                    <a:pt x="11727" y="24770"/>
                  </a:cubicBezTo>
                  <a:lnTo>
                    <a:pt x="11727" y="32337"/>
                  </a:lnTo>
                  <a:cubicBezTo>
                    <a:pt x="11727" y="39544"/>
                    <a:pt x="17570" y="45387"/>
                    <a:pt x="24777" y="45387"/>
                  </a:cubicBezTo>
                  <a:cubicBezTo>
                    <a:pt x="31984" y="45387"/>
                    <a:pt x="37826" y="39544"/>
                    <a:pt x="37826" y="32337"/>
                  </a:cubicBezTo>
                  <a:lnTo>
                    <a:pt x="37826" y="24770"/>
                  </a:lnTo>
                  <a:cubicBezTo>
                    <a:pt x="38144" y="17881"/>
                    <a:pt x="32817" y="12039"/>
                    <a:pt x="25929" y="11721"/>
                  </a:cubicBezTo>
                  <a:cubicBezTo>
                    <a:pt x="25545" y="11703"/>
                    <a:pt x="25160" y="11703"/>
                    <a:pt x="24777" y="11721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93" name="Freeform: Shape 382">
              <a:extLst>
                <a:ext uri="{FF2B5EF4-FFF2-40B4-BE49-F238E27FC236}">
                  <a16:creationId xmlns:a16="http://schemas.microsoft.com/office/drawing/2014/main" id="{21EC762B-F8D2-49B2-BF25-C6626771EE29}"/>
                </a:ext>
              </a:extLst>
            </p:cNvPr>
            <p:cNvSpPr/>
            <p:nvPr/>
          </p:nvSpPr>
          <p:spPr>
            <a:xfrm>
              <a:off x="9487712" y="3049065"/>
              <a:ext cx="104841" cy="121157"/>
            </a:xfrm>
            <a:custGeom>
              <a:avLst/>
              <a:gdLst>
                <a:gd name="connsiteX0" fmla="*/ 24777 w 49552"/>
                <a:gd name="connsiteY0" fmla="*/ 57257 h 57263"/>
                <a:gd name="connsiteX1" fmla="*/ 6 w 49552"/>
                <a:gd name="connsiteY1" fmla="*/ 33585 h 57263"/>
                <a:gd name="connsiteX2" fmla="*/ 6 w 49552"/>
                <a:gd name="connsiteY2" fmla="*/ 32486 h 57263"/>
                <a:gd name="connsiteX3" fmla="*/ 6 w 49552"/>
                <a:gd name="connsiteY3" fmla="*/ 24924 h 57263"/>
                <a:gd name="connsiteX4" fmla="*/ 24623 w 49552"/>
                <a:gd name="connsiteY4" fmla="*/ 0 h 57263"/>
                <a:gd name="connsiteX5" fmla="*/ 49547 w 49552"/>
                <a:gd name="connsiteY5" fmla="*/ 24617 h 57263"/>
                <a:gd name="connsiteX6" fmla="*/ 49547 w 49552"/>
                <a:gd name="connsiteY6" fmla="*/ 24924 h 57263"/>
                <a:gd name="connsiteX7" fmla="*/ 49546 w 49552"/>
                <a:gd name="connsiteY7" fmla="*/ 32486 h 57263"/>
                <a:gd name="connsiteX8" fmla="*/ 25874 w 49552"/>
                <a:gd name="connsiteY8" fmla="*/ 57257 h 57263"/>
                <a:gd name="connsiteX9" fmla="*/ 24776 w 49552"/>
                <a:gd name="connsiteY9" fmla="*/ 57257 h 57263"/>
                <a:gd name="connsiteX10" fmla="*/ 24777 w 49552"/>
                <a:gd name="connsiteY10" fmla="*/ 11874 h 57263"/>
                <a:gd name="connsiteX11" fmla="*/ 11727 w 49552"/>
                <a:gd name="connsiteY11" fmla="*/ 23773 h 57263"/>
                <a:gd name="connsiteX12" fmla="*/ 11727 w 49552"/>
                <a:gd name="connsiteY12" fmla="*/ 24923 h 57263"/>
                <a:gd name="connsiteX13" fmla="*/ 11727 w 49552"/>
                <a:gd name="connsiteY13" fmla="*/ 32485 h 57263"/>
                <a:gd name="connsiteX14" fmla="*/ 24777 w 49552"/>
                <a:gd name="connsiteY14" fmla="*/ 45535 h 57263"/>
                <a:gd name="connsiteX15" fmla="*/ 37826 w 49552"/>
                <a:gd name="connsiteY15" fmla="*/ 32485 h 57263"/>
                <a:gd name="connsiteX16" fmla="*/ 37826 w 49552"/>
                <a:gd name="connsiteY16" fmla="*/ 24923 h 57263"/>
                <a:gd name="connsiteX17" fmla="*/ 25927 w 49552"/>
                <a:gd name="connsiteY17" fmla="*/ 11874 h 57263"/>
                <a:gd name="connsiteX18" fmla="*/ 24777 w 49552"/>
                <a:gd name="connsiteY18" fmla="*/ 11874 h 57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9552" h="57263">
                  <a:moveTo>
                    <a:pt x="24777" y="57257"/>
                  </a:moveTo>
                  <a:cubicBezTo>
                    <a:pt x="11400" y="57560"/>
                    <a:pt x="309" y="46962"/>
                    <a:pt x="6" y="33585"/>
                  </a:cubicBezTo>
                  <a:cubicBezTo>
                    <a:pt x="-2" y="33219"/>
                    <a:pt x="-2" y="32852"/>
                    <a:pt x="6" y="32486"/>
                  </a:cubicBezTo>
                  <a:lnTo>
                    <a:pt x="6" y="24924"/>
                  </a:lnTo>
                  <a:cubicBezTo>
                    <a:pt x="-79" y="11244"/>
                    <a:pt x="10943" y="85"/>
                    <a:pt x="24623" y="0"/>
                  </a:cubicBezTo>
                  <a:cubicBezTo>
                    <a:pt x="38303" y="-84"/>
                    <a:pt x="49462" y="10937"/>
                    <a:pt x="49547" y="24617"/>
                  </a:cubicBezTo>
                  <a:cubicBezTo>
                    <a:pt x="49547" y="24720"/>
                    <a:pt x="49547" y="24822"/>
                    <a:pt x="49547" y="24924"/>
                  </a:cubicBezTo>
                  <a:lnTo>
                    <a:pt x="49546" y="32486"/>
                  </a:lnTo>
                  <a:cubicBezTo>
                    <a:pt x="49850" y="45863"/>
                    <a:pt x="39251" y="56954"/>
                    <a:pt x="25874" y="57257"/>
                  </a:cubicBezTo>
                  <a:cubicBezTo>
                    <a:pt x="25508" y="57265"/>
                    <a:pt x="25142" y="57265"/>
                    <a:pt x="24776" y="57257"/>
                  </a:cubicBezTo>
                  <a:close/>
                  <a:moveTo>
                    <a:pt x="24777" y="11874"/>
                  </a:moveTo>
                  <a:cubicBezTo>
                    <a:pt x="17888" y="11556"/>
                    <a:pt x="12045" y="16884"/>
                    <a:pt x="11727" y="23773"/>
                  </a:cubicBezTo>
                  <a:cubicBezTo>
                    <a:pt x="11710" y="24156"/>
                    <a:pt x="11710" y="24540"/>
                    <a:pt x="11727" y="24923"/>
                  </a:cubicBezTo>
                  <a:lnTo>
                    <a:pt x="11727" y="32485"/>
                  </a:lnTo>
                  <a:cubicBezTo>
                    <a:pt x="11727" y="39692"/>
                    <a:pt x="17570" y="45535"/>
                    <a:pt x="24777" y="45535"/>
                  </a:cubicBezTo>
                  <a:cubicBezTo>
                    <a:pt x="31984" y="45535"/>
                    <a:pt x="37826" y="39692"/>
                    <a:pt x="37826" y="32485"/>
                  </a:cubicBezTo>
                  <a:lnTo>
                    <a:pt x="37826" y="24923"/>
                  </a:lnTo>
                  <a:cubicBezTo>
                    <a:pt x="38143" y="18034"/>
                    <a:pt x="32816" y="12192"/>
                    <a:pt x="25927" y="11874"/>
                  </a:cubicBezTo>
                  <a:cubicBezTo>
                    <a:pt x="25544" y="11856"/>
                    <a:pt x="25160" y="11856"/>
                    <a:pt x="24777" y="11874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94" name="Freeform: Shape 383">
              <a:extLst>
                <a:ext uri="{FF2B5EF4-FFF2-40B4-BE49-F238E27FC236}">
                  <a16:creationId xmlns:a16="http://schemas.microsoft.com/office/drawing/2014/main" id="{30220621-427A-46A7-AEF1-E7DC22B439B3}"/>
                </a:ext>
              </a:extLst>
            </p:cNvPr>
            <p:cNvSpPr/>
            <p:nvPr/>
          </p:nvSpPr>
          <p:spPr>
            <a:xfrm>
              <a:off x="9636157" y="3185433"/>
              <a:ext cx="100428" cy="140422"/>
            </a:xfrm>
            <a:custGeom>
              <a:avLst/>
              <a:gdLst>
                <a:gd name="connsiteX0" fmla="*/ 47465 w 47466"/>
                <a:gd name="connsiteY0" fmla="*/ 66368 h 66368"/>
                <a:gd name="connsiteX1" fmla="*/ 35745 w 47466"/>
                <a:gd name="connsiteY1" fmla="*/ 66368 h 66368"/>
                <a:gd name="connsiteX2" fmla="*/ 35745 w 47466"/>
                <a:gd name="connsiteY2" fmla="*/ 28547 h 66368"/>
                <a:gd name="connsiteX3" fmla="*/ 3785 w 47466"/>
                <a:gd name="connsiteY3" fmla="*/ 11716 h 66368"/>
                <a:gd name="connsiteX4" fmla="*/ 0 w 47466"/>
                <a:gd name="connsiteY4" fmla="*/ 11716 h 66368"/>
                <a:gd name="connsiteX5" fmla="*/ 0 w 47466"/>
                <a:gd name="connsiteY5" fmla="*/ 0 h 66368"/>
                <a:gd name="connsiteX6" fmla="*/ 3786 w 47466"/>
                <a:gd name="connsiteY6" fmla="*/ 0 h 66368"/>
                <a:gd name="connsiteX7" fmla="*/ 47467 w 47466"/>
                <a:gd name="connsiteY7" fmla="*/ 28552 h 66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466" h="66368">
                  <a:moveTo>
                    <a:pt x="47465" y="66368"/>
                  </a:moveTo>
                  <a:lnTo>
                    <a:pt x="35745" y="66368"/>
                  </a:lnTo>
                  <a:lnTo>
                    <a:pt x="35745" y="28547"/>
                  </a:lnTo>
                  <a:cubicBezTo>
                    <a:pt x="35745" y="21283"/>
                    <a:pt x="15647" y="11716"/>
                    <a:pt x="3785" y="11716"/>
                  </a:cubicBezTo>
                  <a:lnTo>
                    <a:pt x="0" y="11716"/>
                  </a:lnTo>
                  <a:lnTo>
                    <a:pt x="0" y="0"/>
                  </a:lnTo>
                  <a:lnTo>
                    <a:pt x="3786" y="0"/>
                  </a:lnTo>
                  <a:cubicBezTo>
                    <a:pt x="18781" y="0"/>
                    <a:pt x="47467" y="11120"/>
                    <a:pt x="47467" y="28552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95" name="Freeform: Shape 385">
              <a:extLst>
                <a:ext uri="{FF2B5EF4-FFF2-40B4-BE49-F238E27FC236}">
                  <a16:creationId xmlns:a16="http://schemas.microsoft.com/office/drawing/2014/main" id="{A899EE9E-B096-4E0C-8665-B90651F4F604}"/>
                </a:ext>
              </a:extLst>
            </p:cNvPr>
            <p:cNvSpPr/>
            <p:nvPr/>
          </p:nvSpPr>
          <p:spPr>
            <a:xfrm>
              <a:off x="9343701" y="3185423"/>
              <a:ext cx="100409" cy="140431"/>
            </a:xfrm>
            <a:custGeom>
              <a:avLst/>
              <a:gdLst>
                <a:gd name="connsiteX0" fmla="*/ 11721 w 47457"/>
                <a:gd name="connsiteY0" fmla="*/ 66373 h 66373"/>
                <a:gd name="connsiteX1" fmla="*/ 0 w 47457"/>
                <a:gd name="connsiteY1" fmla="*/ 66373 h 66373"/>
                <a:gd name="connsiteX2" fmla="*/ 0 w 47457"/>
                <a:gd name="connsiteY2" fmla="*/ 28552 h 66373"/>
                <a:gd name="connsiteX3" fmla="*/ 43681 w 47457"/>
                <a:gd name="connsiteY3" fmla="*/ 0 h 66373"/>
                <a:gd name="connsiteX4" fmla="*/ 47458 w 47457"/>
                <a:gd name="connsiteY4" fmla="*/ 0 h 66373"/>
                <a:gd name="connsiteX5" fmla="*/ 47458 w 47457"/>
                <a:gd name="connsiteY5" fmla="*/ 11716 h 66373"/>
                <a:gd name="connsiteX6" fmla="*/ 43681 w 47457"/>
                <a:gd name="connsiteY6" fmla="*/ 11716 h 66373"/>
                <a:gd name="connsiteX7" fmla="*/ 11721 w 47457"/>
                <a:gd name="connsiteY7" fmla="*/ 28547 h 66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457" h="66373">
                  <a:moveTo>
                    <a:pt x="11721" y="66373"/>
                  </a:moveTo>
                  <a:lnTo>
                    <a:pt x="0" y="66373"/>
                  </a:lnTo>
                  <a:lnTo>
                    <a:pt x="0" y="28552"/>
                  </a:lnTo>
                  <a:cubicBezTo>
                    <a:pt x="0" y="11121"/>
                    <a:pt x="28687" y="0"/>
                    <a:pt x="43681" y="0"/>
                  </a:cubicBezTo>
                  <a:lnTo>
                    <a:pt x="47458" y="0"/>
                  </a:lnTo>
                  <a:lnTo>
                    <a:pt x="47458" y="11716"/>
                  </a:lnTo>
                  <a:lnTo>
                    <a:pt x="43681" y="11716"/>
                  </a:lnTo>
                  <a:cubicBezTo>
                    <a:pt x="31821" y="11716"/>
                    <a:pt x="11721" y="21283"/>
                    <a:pt x="11721" y="28547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</p:grpSp>
      <p:grpSp>
        <p:nvGrpSpPr>
          <p:cNvPr id="96" name="Gruppieren 95"/>
          <p:cNvGrpSpPr/>
          <p:nvPr/>
        </p:nvGrpSpPr>
        <p:grpSpPr>
          <a:xfrm>
            <a:off x="8549696" y="5469416"/>
            <a:ext cx="648000" cy="648000"/>
            <a:chOff x="9216139" y="2873822"/>
            <a:chExt cx="648000" cy="648000"/>
          </a:xfrm>
        </p:grpSpPr>
        <p:sp>
          <p:nvSpPr>
            <p:cNvPr id="97" name="Freeform: Shape 380">
              <a:extLst>
                <a:ext uri="{FF2B5EF4-FFF2-40B4-BE49-F238E27FC236}">
                  <a16:creationId xmlns:a16="http://schemas.microsoft.com/office/drawing/2014/main" id="{832FD4CD-81B1-424E-9309-E03B59C22A80}"/>
                </a:ext>
              </a:extLst>
            </p:cNvPr>
            <p:cNvSpPr/>
            <p:nvPr/>
          </p:nvSpPr>
          <p:spPr>
            <a:xfrm>
              <a:off x="9216139" y="2873822"/>
              <a:ext cx="648000" cy="648000"/>
            </a:xfrm>
            <a:custGeom>
              <a:avLst/>
              <a:gdLst>
                <a:gd name="connsiteX0" fmla="*/ 0 w 306268"/>
                <a:gd name="connsiteY0" fmla="*/ 0 h 306268"/>
                <a:gd name="connsiteX1" fmla="*/ 306269 w 306268"/>
                <a:gd name="connsiteY1" fmla="*/ 0 h 306268"/>
                <a:gd name="connsiteX2" fmla="*/ 306269 w 306268"/>
                <a:gd name="connsiteY2" fmla="*/ 306269 h 306268"/>
                <a:gd name="connsiteX3" fmla="*/ 0 w 306268"/>
                <a:gd name="connsiteY3" fmla="*/ 306269 h 3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268" h="306268">
                  <a:moveTo>
                    <a:pt x="0" y="0"/>
                  </a:moveTo>
                  <a:lnTo>
                    <a:pt x="306269" y="0"/>
                  </a:lnTo>
                  <a:lnTo>
                    <a:pt x="306269" y="306269"/>
                  </a:lnTo>
                  <a:lnTo>
                    <a:pt x="0" y="306269"/>
                  </a:lnTo>
                  <a:close/>
                </a:path>
              </a:pathLst>
            </a:custGeom>
            <a:noFill/>
            <a:ln w="19050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98" name="Freeform: Shape 381">
              <a:extLst>
                <a:ext uri="{FF2B5EF4-FFF2-40B4-BE49-F238E27FC236}">
                  <a16:creationId xmlns:a16="http://schemas.microsoft.com/office/drawing/2014/main" id="{1017F872-609E-46C2-93BF-FBD5A37C7B90}"/>
                </a:ext>
              </a:extLst>
            </p:cNvPr>
            <p:cNvSpPr/>
            <p:nvPr/>
          </p:nvSpPr>
          <p:spPr>
            <a:xfrm>
              <a:off x="9439721" y="3169425"/>
              <a:ext cx="200842" cy="164448"/>
            </a:xfrm>
            <a:custGeom>
              <a:avLst/>
              <a:gdLst>
                <a:gd name="connsiteX0" fmla="*/ 94925 w 94925"/>
                <a:gd name="connsiteY0" fmla="*/ 77725 h 77724"/>
                <a:gd name="connsiteX1" fmla="*/ 83204 w 94925"/>
                <a:gd name="connsiteY1" fmla="*/ 77725 h 77724"/>
                <a:gd name="connsiteX2" fmla="*/ 83204 w 94925"/>
                <a:gd name="connsiteY2" fmla="*/ 28551 h 77724"/>
                <a:gd name="connsiteX3" fmla="*/ 47458 w 94925"/>
                <a:gd name="connsiteY3" fmla="*/ 11720 h 77724"/>
                <a:gd name="connsiteX4" fmla="*/ 11720 w 94925"/>
                <a:gd name="connsiteY4" fmla="*/ 28551 h 77724"/>
                <a:gd name="connsiteX5" fmla="*/ 11720 w 94925"/>
                <a:gd name="connsiteY5" fmla="*/ 77725 h 77724"/>
                <a:gd name="connsiteX6" fmla="*/ 0 w 94925"/>
                <a:gd name="connsiteY6" fmla="*/ 77725 h 77724"/>
                <a:gd name="connsiteX7" fmla="*/ 0 w 94925"/>
                <a:gd name="connsiteY7" fmla="*/ 28551 h 77724"/>
                <a:gd name="connsiteX8" fmla="*/ 47458 w 94925"/>
                <a:gd name="connsiteY8" fmla="*/ 0 h 77724"/>
                <a:gd name="connsiteX9" fmla="*/ 94925 w 94925"/>
                <a:gd name="connsiteY9" fmla="*/ 28551 h 77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925" h="77724">
                  <a:moveTo>
                    <a:pt x="94925" y="77725"/>
                  </a:moveTo>
                  <a:lnTo>
                    <a:pt x="83204" y="77725"/>
                  </a:lnTo>
                  <a:lnTo>
                    <a:pt x="83204" y="28551"/>
                  </a:lnTo>
                  <a:cubicBezTo>
                    <a:pt x="83204" y="20910"/>
                    <a:pt x="61252" y="11720"/>
                    <a:pt x="47458" y="11720"/>
                  </a:cubicBezTo>
                  <a:cubicBezTo>
                    <a:pt x="33664" y="11720"/>
                    <a:pt x="11720" y="20910"/>
                    <a:pt x="11720" y="28551"/>
                  </a:cubicBezTo>
                  <a:lnTo>
                    <a:pt x="11720" y="77725"/>
                  </a:lnTo>
                  <a:lnTo>
                    <a:pt x="0" y="77725"/>
                  </a:lnTo>
                  <a:lnTo>
                    <a:pt x="0" y="28551"/>
                  </a:lnTo>
                  <a:cubicBezTo>
                    <a:pt x="0" y="10078"/>
                    <a:pt x="31346" y="0"/>
                    <a:pt x="47458" y="0"/>
                  </a:cubicBezTo>
                  <a:cubicBezTo>
                    <a:pt x="63569" y="0"/>
                    <a:pt x="94925" y="10078"/>
                    <a:pt x="94925" y="28551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99" name="Freeform: Shape 386">
              <a:extLst>
                <a:ext uri="{FF2B5EF4-FFF2-40B4-BE49-F238E27FC236}">
                  <a16:creationId xmlns:a16="http://schemas.microsoft.com/office/drawing/2014/main" id="{F64A1C8D-F2B2-4BEE-B717-00D8222D4ECA}"/>
                </a:ext>
              </a:extLst>
            </p:cNvPr>
            <p:cNvSpPr/>
            <p:nvPr/>
          </p:nvSpPr>
          <p:spPr>
            <a:xfrm>
              <a:off x="9375689" y="3065715"/>
              <a:ext cx="104841" cy="120518"/>
            </a:xfrm>
            <a:custGeom>
              <a:avLst/>
              <a:gdLst>
                <a:gd name="connsiteX0" fmla="*/ 24777 w 49552"/>
                <a:gd name="connsiteY0" fmla="*/ 56956 h 56961"/>
                <a:gd name="connsiteX1" fmla="*/ 6 w 49552"/>
                <a:gd name="connsiteY1" fmla="*/ 33281 h 56961"/>
                <a:gd name="connsiteX2" fmla="*/ 6 w 49552"/>
                <a:gd name="connsiteY2" fmla="*/ 32185 h 56961"/>
                <a:gd name="connsiteX3" fmla="*/ 6 w 49552"/>
                <a:gd name="connsiteY3" fmla="*/ 24617 h 56961"/>
                <a:gd name="connsiteX4" fmla="*/ 24930 w 49552"/>
                <a:gd name="connsiteY4" fmla="*/ 0 h 56961"/>
                <a:gd name="connsiteX5" fmla="*/ 49546 w 49552"/>
                <a:gd name="connsiteY5" fmla="*/ 24617 h 56961"/>
                <a:gd name="connsiteX6" fmla="*/ 49546 w 49552"/>
                <a:gd name="connsiteY6" fmla="*/ 32185 h 56961"/>
                <a:gd name="connsiteX7" fmla="*/ 25872 w 49552"/>
                <a:gd name="connsiteY7" fmla="*/ 56956 h 56961"/>
                <a:gd name="connsiteX8" fmla="*/ 24777 w 49552"/>
                <a:gd name="connsiteY8" fmla="*/ 56956 h 56961"/>
                <a:gd name="connsiteX9" fmla="*/ 24777 w 49552"/>
                <a:gd name="connsiteY9" fmla="*/ 11567 h 56961"/>
                <a:gd name="connsiteX10" fmla="*/ 11727 w 49552"/>
                <a:gd name="connsiteY10" fmla="*/ 23466 h 56961"/>
                <a:gd name="connsiteX11" fmla="*/ 11727 w 49552"/>
                <a:gd name="connsiteY11" fmla="*/ 24616 h 56961"/>
                <a:gd name="connsiteX12" fmla="*/ 11727 w 49552"/>
                <a:gd name="connsiteY12" fmla="*/ 32184 h 56961"/>
                <a:gd name="connsiteX13" fmla="*/ 24777 w 49552"/>
                <a:gd name="connsiteY13" fmla="*/ 45233 h 56961"/>
                <a:gd name="connsiteX14" fmla="*/ 37826 w 49552"/>
                <a:gd name="connsiteY14" fmla="*/ 32184 h 56961"/>
                <a:gd name="connsiteX15" fmla="*/ 37826 w 49552"/>
                <a:gd name="connsiteY15" fmla="*/ 24616 h 56961"/>
                <a:gd name="connsiteX16" fmla="*/ 25927 w 49552"/>
                <a:gd name="connsiteY16" fmla="*/ 11567 h 56961"/>
                <a:gd name="connsiteX17" fmla="*/ 24777 w 49552"/>
                <a:gd name="connsiteY17" fmla="*/ 11567 h 56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552" h="56961">
                  <a:moveTo>
                    <a:pt x="24777" y="56956"/>
                  </a:moveTo>
                  <a:cubicBezTo>
                    <a:pt x="11399" y="57258"/>
                    <a:pt x="309" y="46659"/>
                    <a:pt x="6" y="33281"/>
                  </a:cubicBezTo>
                  <a:cubicBezTo>
                    <a:pt x="-2" y="32916"/>
                    <a:pt x="-2" y="32550"/>
                    <a:pt x="6" y="32185"/>
                  </a:cubicBezTo>
                  <a:lnTo>
                    <a:pt x="6" y="24617"/>
                  </a:lnTo>
                  <a:cubicBezTo>
                    <a:pt x="90" y="10937"/>
                    <a:pt x="11249" y="-84"/>
                    <a:pt x="24930" y="0"/>
                  </a:cubicBezTo>
                  <a:cubicBezTo>
                    <a:pt x="38490" y="85"/>
                    <a:pt x="49462" y="11057"/>
                    <a:pt x="49546" y="24617"/>
                  </a:cubicBezTo>
                  <a:lnTo>
                    <a:pt x="49546" y="32185"/>
                  </a:lnTo>
                  <a:cubicBezTo>
                    <a:pt x="49849" y="45563"/>
                    <a:pt x="39250" y="56653"/>
                    <a:pt x="25872" y="56956"/>
                  </a:cubicBezTo>
                  <a:cubicBezTo>
                    <a:pt x="25507" y="56964"/>
                    <a:pt x="25142" y="56964"/>
                    <a:pt x="24777" y="56956"/>
                  </a:cubicBezTo>
                  <a:close/>
                  <a:moveTo>
                    <a:pt x="24777" y="11567"/>
                  </a:moveTo>
                  <a:cubicBezTo>
                    <a:pt x="17888" y="11249"/>
                    <a:pt x="12045" y="16577"/>
                    <a:pt x="11727" y="23466"/>
                  </a:cubicBezTo>
                  <a:cubicBezTo>
                    <a:pt x="11710" y="23849"/>
                    <a:pt x="11710" y="24233"/>
                    <a:pt x="11727" y="24616"/>
                  </a:cubicBezTo>
                  <a:lnTo>
                    <a:pt x="11727" y="32184"/>
                  </a:lnTo>
                  <a:cubicBezTo>
                    <a:pt x="11727" y="39391"/>
                    <a:pt x="17570" y="45233"/>
                    <a:pt x="24777" y="45233"/>
                  </a:cubicBezTo>
                  <a:cubicBezTo>
                    <a:pt x="31984" y="45233"/>
                    <a:pt x="37826" y="39391"/>
                    <a:pt x="37826" y="32184"/>
                  </a:cubicBezTo>
                  <a:lnTo>
                    <a:pt x="37826" y="24616"/>
                  </a:lnTo>
                  <a:cubicBezTo>
                    <a:pt x="38143" y="17727"/>
                    <a:pt x="32816" y="11885"/>
                    <a:pt x="25927" y="11567"/>
                  </a:cubicBezTo>
                  <a:cubicBezTo>
                    <a:pt x="25544" y="11549"/>
                    <a:pt x="25160" y="11549"/>
                    <a:pt x="24777" y="11567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100" name="Freeform: Shape 384">
              <a:extLst>
                <a:ext uri="{FF2B5EF4-FFF2-40B4-BE49-F238E27FC236}">
                  <a16:creationId xmlns:a16="http://schemas.microsoft.com/office/drawing/2014/main" id="{EDC1EDE1-6889-4A08-8D6F-C6D7CAB1BACB}"/>
                </a:ext>
              </a:extLst>
            </p:cNvPr>
            <p:cNvSpPr/>
            <p:nvPr/>
          </p:nvSpPr>
          <p:spPr>
            <a:xfrm>
              <a:off x="9599751" y="3065392"/>
              <a:ext cx="104845" cy="120843"/>
            </a:xfrm>
            <a:custGeom>
              <a:avLst/>
              <a:gdLst>
                <a:gd name="connsiteX0" fmla="*/ 24777 w 49553"/>
                <a:gd name="connsiteY0" fmla="*/ 57109 h 57115"/>
                <a:gd name="connsiteX1" fmla="*/ 6 w 49553"/>
                <a:gd name="connsiteY1" fmla="*/ 33433 h 57115"/>
                <a:gd name="connsiteX2" fmla="*/ 6 w 49553"/>
                <a:gd name="connsiteY2" fmla="*/ 32338 h 57115"/>
                <a:gd name="connsiteX3" fmla="*/ 6 w 49553"/>
                <a:gd name="connsiteY3" fmla="*/ 24771 h 57115"/>
                <a:gd name="connsiteX4" fmla="*/ 24776 w 49553"/>
                <a:gd name="connsiteY4" fmla="*/ 0 h 57115"/>
                <a:gd name="connsiteX5" fmla="*/ 49547 w 49553"/>
                <a:gd name="connsiteY5" fmla="*/ 24771 h 57115"/>
                <a:gd name="connsiteX6" fmla="*/ 49547 w 49553"/>
                <a:gd name="connsiteY6" fmla="*/ 32338 h 57115"/>
                <a:gd name="connsiteX7" fmla="*/ 25871 w 49553"/>
                <a:gd name="connsiteY7" fmla="*/ 57109 h 57115"/>
                <a:gd name="connsiteX8" fmla="*/ 24777 w 49553"/>
                <a:gd name="connsiteY8" fmla="*/ 57109 h 57115"/>
                <a:gd name="connsiteX9" fmla="*/ 24777 w 49553"/>
                <a:gd name="connsiteY9" fmla="*/ 11721 h 57115"/>
                <a:gd name="connsiteX10" fmla="*/ 11727 w 49553"/>
                <a:gd name="connsiteY10" fmla="*/ 23619 h 57115"/>
                <a:gd name="connsiteX11" fmla="*/ 11727 w 49553"/>
                <a:gd name="connsiteY11" fmla="*/ 24770 h 57115"/>
                <a:gd name="connsiteX12" fmla="*/ 11727 w 49553"/>
                <a:gd name="connsiteY12" fmla="*/ 32337 h 57115"/>
                <a:gd name="connsiteX13" fmla="*/ 24777 w 49553"/>
                <a:gd name="connsiteY13" fmla="*/ 45387 h 57115"/>
                <a:gd name="connsiteX14" fmla="*/ 37826 w 49553"/>
                <a:gd name="connsiteY14" fmla="*/ 32337 h 57115"/>
                <a:gd name="connsiteX15" fmla="*/ 37826 w 49553"/>
                <a:gd name="connsiteY15" fmla="*/ 24770 h 57115"/>
                <a:gd name="connsiteX16" fmla="*/ 25929 w 49553"/>
                <a:gd name="connsiteY16" fmla="*/ 11721 h 57115"/>
                <a:gd name="connsiteX17" fmla="*/ 24777 w 49553"/>
                <a:gd name="connsiteY17" fmla="*/ 11721 h 57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553" h="57115">
                  <a:moveTo>
                    <a:pt x="24777" y="57109"/>
                  </a:moveTo>
                  <a:cubicBezTo>
                    <a:pt x="11398" y="57411"/>
                    <a:pt x="308" y="46811"/>
                    <a:pt x="6" y="33433"/>
                  </a:cubicBezTo>
                  <a:cubicBezTo>
                    <a:pt x="-2" y="33068"/>
                    <a:pt x="-2" y="32703"/>
                    <a:pt x="6" y="32338"/>
                  </a:cubicBezTo>
                  <a:lnTo>
                    <a:pt x="6" y="24771"/>
                  </a:lnTo>
                  <a:cubicBezTo>
                    <a:pt x="6" y="11090"/>
                    <a:pt x="11096" y="0"/>
                    <a:pt x="24776" y="0"/>
                  </a:cubicBezTo>
                  <a:cubicBezTo>
                    <a:pt x="38457" y="0"/>
                    <a:pt x="49547" y="11090"/>
                    <a:pt x="49547" y="24771"/>
                  </a:cubicBezTo>
                  <a:lnTo>
                    <a:pt x="49547" y="32338"/>
                  </a:lnTo>
                  <a:cubicBezTo>
                    <a:pt x="49850" y="45717"/>
                    <a:pt x="39249" y="56807"/>
                    <a:pt x="25871" y="57109"/>
                  </a:cubicBezTo>
                  <a:cubicBezTo>
                    <a:pt x="25506" y="57117"/>
                    <a:pt x="25141" y="57117"/>
                    <a:pt x="24777" y="57109"/>
                  </a:cubicBezTo>
                  <a:close/>
                  <a:moveTo>
                    <a:pt x="24777" y="11721"/>
                  </a:moveTo>
                  <a:cubicBezTo>
                    <a:pt x="17888" y="11403"/>
                    <a:pt x="12045" y="16730"/>
                    <a:pt x="11727" y="23619"/>
                  </a:cubicBezTo>
                  <a:cubicBezTo>
                    <a:pt x="11710" y="24003"/>
                    <a:pt x="11710" y="24387"/>
                    <a:pt x="11727" y="24770"/>
                  </a:cubicBezTo>
                  <a:lnTo>
                    <a:pt x="11727" y="32337"/>
                  </a:lnTo>
                  <a:cubicBezTo>
                    <a:pt x="11727" y="39544"/>
                    <a:pt x="17570" y="45387"/>
                    <a:pt x="24777" y="45387"/>
                  </a:cubicBezTo>
                  <a:cubicBezTo>
                    <a:pt x="31984" y="45387"/>
                    <a:pt x="37826" y="39544"/>
                    <a:pt x="37826" y="32337"/>
                  </a:cubicBezTo>
                  <a:lnTo>
                    <a:pt x="37826" y="24770"/>
                  </a:lnTo>
                  <a:cubicBezTo>
                    <a:pt x="38144" y="17881"/>
                    <a:pt x="32817" y="12039"/>
                    <a:pt x="25929" y="11721"/>
                  </a:cubicBezTo>
                  <a:cubicBezTo>
                    <a:pt x="25545" y="11703"/>
                    <a:pt x="25160" y="11703"/>
                    <a:pt x="24777" y="11721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101" name="Freeform: Shape 382">
              <a:extLst>
                <a:ext uri="{FF2B5EF4-FFF2-40B4-BE49-F238E27FC236}">
                  <a16:creationId xmlns:a16="http://schemas.microsoft.com/office/drawing/2014/main" id="{21EC762B-F8D2-49B2-BF25-C6626771EE29}"/>
                </a:ext>
              </a:extLst>
            </p:cNvPr>
            <p:cNvSpPr/>
            <p:nvPr/>
          </p:nvSpPr>
          <p:spPr>
            <a:xfrm>
              <a:off x="9487712" y="3049065"/>
              <a:ext cx="104841" cy="121157"/>
            </a:xfrm>
            <a:custGeom>
              <a:avLst/>
              <a:gdLst>
                <a:gd name="connsiteX0" fmla="*/ 24777 w 49552"/>
                <a:gd name="connsiteY0" fmla="*/ 57257 h 57263"/>
                <a:gd name="connsiteX1" fmla="*/ 6 w 49552"/>
                <a:gd name="connsiteY1" fmla="*/ 33585 h 57263"/>
                <a:gd name="connsiteX2" fmla="*/ 6 w 49552"/>
                <a:gd name="connsiteY2" fmla="*/ 32486 h 57263"/>
                <a:gd name="connsiteX3" fmla="*/ 6 w 49552"/>
                <a:gd name="connsiteY3" fmla="*/ 24924 h 57263"/>
                <a:gd name="connsiteX4" fmla="*/ 24623 w 49552"/>
                <a:gd name="connsiteY4" fmla="*/ 0 h 57263"/>
                <a:gd name="connsiteX5" fmla="*/ 49547 w 49552"/>
                <a:gd name="connsiteY5" fmla="*/ 24617 h 57263"/>
                <a:gd name="connsiteX6" fmla="*/ 49547 w 49552"/>
                <a:gd name="connsiteY6" fmla="*/ 24924 h 57263"/>
                <a:gd name="connsiteX7" fmla="*/ 49546 w 49552"/>
                <a:gd name="connsiteY7" fmla="*/ 32486 h 57263"/>
                <a:gd name="connsiteX8" fmla="*/ 25874 w 49552"/>
                <a:gd name="connsiteY8" fmla="*/ 57257 h 57263"/>
                <a:gd name="connsiteX9" fmla="*/ 24776 w 49552"/>
                <a:gd name="connsiteY9" fmla="*/ 57257 h 57263"/>
                <a:gd name="connsiteX10" fmla="*/ 24777 w 49552"/>
                <a:gd name="connsiteY10" fmla="*/ 11874 h 57263"/>
                <a:gd name="connsiteX11" fmla="*/ 11727 w 49552"/>
                <a:gd name="connsiteY11" fmla="*/ 23773 h 57263"/>
                <a:gd name="connsiteX12" fmla="*/ 11727 w 49552"/>
                <a:gd name="connsiteY12" fmla="*/ 24923 h 57263"/>
                <a:gd name="connsiteX13" fmla="*/ 11727 w 49552"/>
                <a:gd name="connsiteY13" fmla="*/ 32485 h 57263"/>
                <a:gd name="connsiteX14" fmla="*/ 24777 w 49552"/>
                <a:gd name="connsiteY14" fmla="*/ 45535 h 57263"/>
                <a:gd name="connsiteX15" fmla="*/ 37826 w 49552"/>
                <a:gd name="connsiteY15" fmla="*/ 32485 h 57263"/>
                <a:gd name="connsiteX16" fmla="*/ 37826 w 49552"/>
                <a:gd name="connsiteY16" fmla="*/ 24923 h 57263"/>
                <a:gd name="connsiteX17" fmla="*/ 25927 w 49552"/>
                <a:gd name="connsiteY17" fmla="*/ 11874 h 57263"/>
                <a:gd name="connsiteX18" fmla="*/ 24777 w 49552"/>
                <a:gd name="connsiteY18" fmla="*/ 11874 h 57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9552" h="57263">
                  <a:moveTo>
                    <a:pt x="24777" y="57257"/>
                  </a:moveTo>
                  <a:cubicBezTo>
                    <a:pt x="11400" y="57560"/>
                    <a:pt x="309" y="46962"/>
                    <a:pt x="6" y="33585"/>
                  </a:cubicBezTo>
                  <a:cubicBezTo>
                    <a:pt x="-2" y="33219"/>
                    <a:pt x="-2" y="32852"/>
                    <a:pt x="6" y="32486"/>
                  </a:cubicBezTo>
                  <a:lnTo>
                    <a:pt x="6" y="24924"/>
                  </a:lnTo>
                  <a:cubicBezTo>
                    <a:pt x="-79" y="11244"/>
                    <a:pt x="10943" y="85"/>
                    <a:pt x="24623" y="0"/>
                  </a:cubicBezTo>
                  <a:cubicBezTo>
                    <a:pt x="38303" y="-84"/>
                    <a:pt x="49462" y="10937"/>
                    <a:pt x="49547" y="24617"/>
                  </a:cubicBezTo>
                  <a:cubicBezTo>
                    <a:pt x="49547" y="24720"/>
                    <a:pt x="49547" y="24822"/>
                    <a:pt x="49547" y="24924"/>
                  </a:cubicBezTo>
                  <a:lnTo>
                    <a:pt x="49546" y="32486"/>
                  </a:lnTo>
                  <a:cubicBezTo>
                    <a:pt x="49850" y="45863"/>
                    <a:pt x="39251" y="56954"/>
                    <a:pt x="25874" y="57257"/>
                  </a:cubicBezTo>
                  <a:cubicBezTo>
                    <a:pt x="25508" y="57265"/>
                    <a:pt x="25142" y="57265"/>
                    <a:pt x="24776" y="57257"/>
                  </a:cubicBezTo>
                  <a:close/>
                  <a:moveTo>
                    <a:pt x="24777" y="11874"/>
                  </a:moveTo>
                  <a:cubicBezTo>
                    <a:pt x="17888" y="11556"/>
                    <a:pt x="12045" y="16884"/>
                    <a:pt x="11727" y="23773"/>
                  </a:cubicBezTo>
                  <a:cubicBezTo>
                    <a:pt x="11710" y="24156"/>
                    <a:pt x="11710" y="24540"/>
                    <a:pt x="11727" y="24923"/>
                  </a:cubicBezTo>
                  <a:lnTo>
                    <a:pt x="11727" y="32485"/>
                  </a:lnTo>
                  <a:cubicBezTo>
                    <a:pt x="11727" y="39692"/>
                    <a:pt x="17570" y="45535"/>
                    <a:pt x="24777" y="45535"/>
                  </a:cubicBezTo>
                  <a:cubicBezTo>
                    <a:pt x="31984" y="45535"/>
                    <a:pt x="37826" y="39692"/>
                    <a:pt x="37826" y="32485"/>
                  </a:cubicBezTo>
                  <a:lnTo>
                    <a:pt x="37826" y="24923"/>
                  </a:lnTo>
                  <a:cubicBezTo>
                    <a:pt x="38143" y="18034"/>
                    <a:pt x="32816" y="12192"/>
                    <a:pt x="25927" y="11874"/>
                  </a:cubicBezTo>
                  <a:cubicBezTo>
                    <a:pt x="25544" y="11856"/>
                    <a:pt x="25160" y="11856"/>
                    <a:pt x="24777" y="11874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102" name="Freeform: Shape 383">
              <a:extLst>
                <a:ext uri="{FF2B5EF4-FFF2-40B4-BE49-F238E27FC236}">
                  <a16:creationId xmlns:a16="http://schemas.microsoft.com/office/drawing/2014/main" id="{30220621-427A-46A7-AEF1-E7DC22B439B3}"/>
                </a:ext>
              </a:extLst>
            </p:cNvPr>
            <p:cNvSpPr/>
            <p:nvPr/>
          </p:nvSpPr>
          <p:spPr>
            <a:xfrm>
              <a:off x="9636157" y="3185433"/>
              <a:ext cx="100428" cy="140422"/>
            </a:xfrm>
            <a:custGeom>
              <a:avLst/>
              <a:gdLst>
                <a:gd name="connsiteX0" fmla="*/ 47465 w 47466"/>
                <a:gd name="connsiteY0" fmla="*/ 66368 h 66368"/>
                <a:gd name="connsiteX1" fmla="*/ 35745 w 47466"/>
                <a:gd name="connsiteY1" fmla="*/ 66368 h 66368"/>
                <a:gd name="connsiteX2" fmla="*/ 35745 w 47466"/>
                <a:gd name="connsiteY2" fmla="*/ 28547 h 66368"/>
                <a:gd name="connsiteX3" fmla="*/ 3785 w 47466"/>
                <a:gd name="connsiteY3" fmla="*/ 11716 h 66368"/>
                <a:gd name="connsiteX4" fmla="*/ 0 w 47466"/>
                <a:gd name="connsiteY4" fmla="*/ 11716 h 66368"/>
                <a:gd name="connsiteX5" fmla="*/ 0 w 47466"/>
                <a:gd name="connsiteY5" fmla="*/ 0 h 66368"/>
                <a:gd name="connsiteX6" fmla="*/ 3786 w 47466"/>
                <a:gd name="connsiteY6" fmla="*/ 0 h 66368"/>
                <a:gd name="connsiteX7" fmla="*/ 47467 w 47466"/>
                <a:gd name="connsiteY7" fmla="*/ 28552 h 66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466" h="66368">
                  <a:moveTo>
                    <a:pt x="47465" y="66368"/>
                  </a:moveTo>
                  <a:lnTo>
                    <a:pt x="35745" y="66368"/>
                  </a:lnTo>
                  <a:lnTo>
                    <a:pt x="35745" y="28547"/>
                  </a:lnTo>
                  <a:cubicBezTo>
                    <a:pt x="35745" y="21283"/>
                    <a:pt x="15647" y="11716"/>
                    <a:pt x="3785" y="11716"/>
                  </a:cubicBezTo>
                  <a:lnTo>
                    <a:pt x="0" y="11716"/>
                  </a:lnTo>
                  <a:lnTo>
                    <a:pt x="0" y="0"/>
                  </a:lnTo>
                  <a:lnTo>
                    <a:pt x="3786" y="0"/>
                  </a:lnTo>
                  <a:cubicBezTo>
                    <a:pt x="18781" y="0"/>
                    <a:pt x="47467" y="11120"/>
                    <a:pt x="47467" y="28552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103" name="Freeform: Shape 385">
              <a:extLst>
                <a:ext uri="{FF2B5EF4-FFF2-40B4-BE49-F238E27FC236}">
                  <a16:creationId xmlns:a16="http://schemas.microsoft.com/office/drawing/2014/main" id="{A899EE9E-B096-4E0C-8665-B90651F4F604}"/>
                </a:ext>
              </a:extLst>
            </p:cNvPr>
            <p:cNvSpPr/>
            <p:nvPr/>
          </p:nvSpPr>
          <p:spPr>
            <a:xfrm>
              <a:off x="9343701" y="3185423"/>
              <a:ext cx="100409" cy="140431"/>
            </a:xfrm>
            <a:custGeom>
              <a:avLst/>
              <a:gdLst>
                <a:gd name="connsiteX0" fmla="*/ 11721 w 47457"/>
                <a:gd name="connsiteY0" fmla="*/ 66373 h 66373"/>
                <a:gd name="connsiteX1" fmla="*/ 0 w 47457"/>
                <a:gd name="connsiteY1" fmla="*/ 66373 h 66373"/>
                <a:gd name="connsiteX2" fmla="*/ 0 w 47457"/>
                <a:gd name="connsiteY2" fmla="*/ 28552 h 66373"/>
                <a:gd name="connsiteX3" fmla="*/ 43681 w 47457"/>
                <a:gd name="connsiteY3" fmla="*/ 0 h 66373"/>
                <a:gd name="connsiteX4" fmla="*/ 47458 w 47457"/>
                <a:gd name="connsiteY4" fmla="*/ 0 h 66373"/>
                <a:gd name="connsiteX5" fmla="*/ 47458 w 47457"/>
                <a:gd name="connsiteY5" fmla="*/ 11716 h 66373"/>
                <a:gd name="connsiteX6" fmla="*/ 43681 w 47457"/>
                <a:gd name="connsiteY6" fmla="*/ 11716 h 66373"/>
                <a:gd name="connsiteX7" fmla="*/ 11721 w 47457"/>
                <a:gd name="connsiteY7" fmla="*/ 28547 h 66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457" h="66373">
                  <a:moveTo>
                    <a:pt x="11721" y="66373"/>
                  </a:moveTo>
                  <a:lnTo>
                    <a:pt x="0" y="66373"/>
                  </a:lnTo>
                  <a:lnTo>
                    <a:pt x="0" y="28552"/>
                  </a:lnTo>
                  <a:cubicBezTo>
                    <a:pt x="0" y="11121"/>
                    <a:pt x="28687" y="0"/>
                    <a:pt x="43681" y="0"/>
                  </a:cubicBezTo>
                  <a:lnTo>
                    <a:pt x="47458" y="0"/>
                  </a:lnTo>
                  <a:lnTo>
                    <a:pt x="47458" y="11716"/>
                  </a:lnTo>
                  <a:lnTo>
                    <a:pt x="43681" y="11716"/>
                  </a:lnTo>
                  <a:cubicBezTo>
                    <a:pt x="31821" y="11716"/>
                    <a:pt x="11721" y="21283"/>
                    <a:pt x="11721" y="28547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</p:grpSp>
      <p:cxnSp>
        <p:nvCxnSpPr>
          <p:cNvPr id="107" name="Gewinkelter Verbinder 106"/>
          <p:cNvCxnSpPr/>
          <p:nvPr/>
        </p:nvCxnSpPr>
        <p:spPr>
          <a:xfrm rot="10800000">
            <a:off x="5592954" y="2666386"/>
            <a:ext cx="2196710" cy="428400"/>
          </a:xfrm>
          <a:prstGeom prst="bentConnector3">
            <a:avLst>
              <a:gd name="adj1" fmla="val 1540"/>
            </a:avLst>
          </a:prstGeom>
          <a:ln w="95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winkelter Verbinder 114"/>
          <p:cNvCxnSpPr/>
          <p:nvPr/>
        </p:nvCxnSpPr>
        <p:spPr>
          <a:xfrm rot="16200000" flipV="1">
            <a:off x="7381781" y="3050831"/>
            <a:ext cx="1173806" cy="394770"/>
          </a:xfrm>
          <a:prstGeom prst="bentConnector3">
            <a:avLst>
              <a:gd name="adj1" fmla="val 99330"/>
            </a:avLst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winkelter Verbinder 120"/>
          <p:cNvCxnSpPr/>
          <p:nvPr/>
        </p:nvCxnSpPr>
        <p:spPr>
          <a:xfrm rot="16200000" flipV="1">
            <a:off x="7369294" y="3481102"/>
            <a:ext cx="1964673" cy="371121"/>
          </a:xfrm>
          <a:prstGeom prst="bentConnector3">
            <a:avLst>
              <a:gd name="adj1" fmla="val 100609"/>
            </a:avLst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Gewinkelter Verbinder 124"/>
          <p:cNvCxnSpPr/>
          <p:nvPr/>
        </p:nvCxnSpPr>
        <p:spPr>
          <a:xfrm rot="16200000" flipV="1">
            <a:off x="7350165" y="3867842"/>
            <a:ext cx="2799031" cy="432000"/>
          </a:xfrm>
          <a:prstGeom prst="bentConnector3">
            <a:avLst>
              <a:gd name="adj1" fmla="val 100428"/>
            </a:avLst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Gerade Verbindung mit Pfeil 137"/>
          <p:cNvCxnSpPr/>
          <p:nvPr/>
        </p:nvCxnSpPr>
        <p:spPr>
          <a:xfrm flipV="1">
            <a:off x="2765536" y="2755919"/>
            <a:ext cx="1888351" cy="14986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Gerade Verbindung mit Pfeil 139"/>
          <p:cNvCxnSpPr/>
          <p:nvPr/>
        </p:nvCxnSpPr>
        <p:spPr>
          <a:xfrm flipV="1">
            <a:off x="2765536" y="3472605"/>
            <a:ext cx="2179705" cy="7819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 flipV="1">
            <a:off x="2783352" y="4162210"/>
            <a:ext cx="2822134" cy="1264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mit Pfeil 143"/>
          <p:cNvCxnSpPr/>
          <p:nvPr/>
        </p:nvCxnSpPr>
        <p:spPr>
          <a:xfrm>
            <a:off x="2809140" y="4321205"/>
            <a:ext cx="3053684" cy="6500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Gerade Verbindung mit Pfeil 145"/>
          <p:cNvCxnSpPr/>
          <p:nvPr/>
        </p:nvCxnSpPr>
        <p:spPr>
          <a:xfrm>
            <a:off x="2801942" y="4357979"/>
            <a:ext cx="3535609" cy="14816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9" name="Gruppieren 148"/>
          <p:cNvGrpSpPr/>
          <p:nvPr/>
        </p:nvGrpSpPr>
        <p:grpSpPr>
          <a:xfrm>
            <a:off x="1126774" y="2390765"/>
            <a:ext cx="648000" cy="648000"/>
            <a:chOff x="10633784" y="4098711"/>
            <a:chExt cx="408357" cy="408357"/>
          </a:xfrm>
        </p:grpSpPr>
        <p:sp>
          <p:nvSpPr>
            <p:cNvPr id="147" name="Freeform: Shape 320">
              <a:extLst>
                <a:ext uri="{FF2B5EF4-FFF2-40B4-BE49-F238E27FC236}">
                  <a16:creationId xmlns:a16="http://schemas.microsoft.com/office/drawing/2014/main" id="{00771FCF-B7A0-45D5-8E70-2FA5D489B078}"/>
                </a:ext>
              </a:extLst>
            </p:cNvPr>
            <p:cNvSpPr/>
            <p:nvPr/>
          </p:nvSpPr>
          <p:spPr>
            <a:xfrm>
              <a:off x="10633784" y="4098711"/>
              <a:ext cx="408357" cy="408357"/>
            </a:xfrm>
            <a:custGeom>
              <a:avLst/>
              <a:gdLst>
                <a:gd name="connsiteX0" fmla="*/ 0 w 306268"/>
                <a:gd name="connsiteY0" fmla="*/ 0 h 306268"/>
                <a:gd name="connsiteX1" fmla="*/ 306268 w 306268"/>
                <a:gd name="connsiteY1" fmla="*/ 0 h 306268"/>
                <a:gd name="connsiteX2" fmla="*/ 306268 w 306268"/>
                <a:gd name="connsiteY2" fmla="*/ 306269 h 306268"/>
                <a:gd name="connsiteX3" fmla="*/ 0 w 306268"/>
                <a:gd name="connsiteY3" fmla="*/ 306269 h 3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268" h="306268">
                  <a:moveTo>
                    <a:pt x="0" y="0"/>
                  </a:moveTo>
                  <a:lnTo>
                    <a:pt x="306268" y="0"/>
                  </a:lnTo>
                  <a:lnTo>
                    <a:pt x="306268" y="306269"/>
                  </a:lnTo>
                  <a:lnTo>
                    <a:pt x="0" y="306269"/>
                  </a:lnTo>
                  <a:close/>
                </a:path>
              </a:pathLst>
            </a:custGeom>
            <a:noFill/>
            <a:ln w="19050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148" name="Freeform: Shape 322">
              <a:extLst>
                <a:ext uri="{FF2B5EF4-FFF2-40B4-BE49-F238E27FC236}">
                  <a16:creationId xmlns:a16="http://schemas.microsoft.com/office/drawing/2014/main" id="{C06B567B-F10B-4B50-9373-66E9CCCF5DC0}"/>
                </a:ext>
              </a:extLst>
            </p:cNvPr>
            <p:cNvSpPr/>
            <p:nvPr/>
          </p:nvSpPr>
          <p:spPr>
            <a:xfrm>
              <a:off x="10786532" y="4199177"/>
              <a:ext cx="102873" cy="207425"/>
            </a:xfrm>
            <a:custGeom>
              <a:avLst/>
              <a:gdLst>
                <a:gd name="connsiteX0" fmla="*/ 0 w 77155"/>
                <a:gd name="connsiteY0" fmla="*/ 15303 h 155569"/>
                <a:gd name="connsiteX1" fmla="*/ 7283 w 77155"/>
                <a:gd name="connsiteY1" fmla="*/ 9461 h 155569"/>
                <a:gd name="connsiteX2" fmla="*/ 15999 w 77155"/>
                <a:gd name="connsiteY2" fmla="*/ 4573 h 155569"/>
                <a:gd name="connsiteX3" fmla="*/ 26191 w 77155"/>
                <a:gd name="connsiteY3" fmla="*/ 1225 h 155569"/>
                <a:gd name="connsiteX4" fmla="*/ 38041 w 77155"/>
                <a:gd name="connsiteY4" fmla="*/ 2 h 155569"/>
                <a:gd name="connsiteX5" fmla="*/ 53612 w 77155"/>
                <a:gd name="connsiteY5" fmla="*/ 2448 h 155569"/>
                <a:gd name="connsiteX6" fmla="*/ 65984 w 77155"/>
                <a:gd name="connsiteY6" fmla="*/ 9355 h 155569"/>
                <a:gd name="connsiteX7" fmla="*/ 74169 w 77155"/>
                <a:gd name="connsiteY7" fmla="*/ 20191 h 155569"/>
                <a:gd name="connsiteX8" fmla="*/ 77146 w 77155"/>
                <a:gd name="connsiteY8" fmla="*/ 34539 h 155569"/>
                <a:gd name="connsiteX9" fmla="*/ 74755 w 77155"/>
                <a:gd name="connsiteY9" fmla="*/ 48459 h 155569"/>
                <a:gd name="connsiteX10" fmla="*/ 68700 w 77155"/>
                <a:gd name="connsiteY10" fmla="*/ 58709 h 155569"/>
                <a:gd name="connsiteX11" fmla="*/ 60673 w 77155"/>
                <a:gd name="connsiteY11" fmla="*/ 66360 h 155569"/>
                <a:gd name="connsiteX12" fmla="*/ 52543 w 77155"/>
                <a:gd name="connsiteY12" fmla="*/ 72472 h 155569"/>
                <a:gd name="connsiteX13" fmla="*/ 46066 w 77155"/>
                <a:gd name="connsiteY13" fmla="*/ 78211 h 155569"/>
                <a:gd name="connsiteX14" fmla="*/ 42931 w 77155"/>
                <a:gd name="connsiteY14" fmla="*/ 84587 h 155569"/>
                <a:gd name="connsiteX15" fmla="*/ 41014 w 77155"/>
                <a:gd name="connsiteY15" fmla="*/ 100842 h 155569"/>
                <a:gd name="connsiteX16" fmla="*/ 28048 w 77155"/>
                <a:gd name="connsiteY16" fmla="*/ 100842 h 155569"/>
                <a:gd name="connsiteX17" fmla="*/ 26773 w 77155"/>
                <a:gd name="connsiteY17" fmla="*/ 83206 h 155569"/>
                <a:gd name="connsiteX18" fmla="*/ 26773 w 77155"/>
                <a:gd name="connsiteY18" fmla="*/ 82034 h 155569"/>
                <a:gd name="connsiteX19" fmla="*/ 29164 w 77155"/>
                <a:gd name="connsiteY19" fmla="*/ 74118 h 155569"/>
                <a:gd name="connsiteX20" fmla="*/ 35219 w 77155"/>
                <a:gd name="connsiteY20" fmla="*/ 67641 h 155569"/>
                <a:gd name="connsiteX21" fmla="*/ 43089 w 77155"/>
                <a:gd name="connsiteY21" fmla="*/ 61581 h 155569"/>
                <a:gd name="connsiteX22" fmla="*/ 50949 w 77155"/>
                <a:gd name="connsiteY22" fmla="*/ 54889 h 155569"/>
                <a:gd name="connsiteX23" fmla="*/ 57004 w 77155"/>
                <a:gd name="connsiteY23" fmla="*/ 46545 h 155569"/>
                <a:gd name="connsiteX24" fmla="*/ 59395 w 77155"/>
                <a:gd name="connsiteY24" fmla="*/ 35496 h 155569"/>
                <a:gd name="connsiteX25" fmla="*/ 57591 w 77155"/>
                <a:gd name="connsiteY25" fmla="*/ 27209 h 155569"/>
                <a:gd name="connsiteX26" fmla="*/ 52707 w 77155"/>
                <a:gd name="connsiteY26" fmla="*/ 20888 h 155569"/>
                <a:gd name="connsiteX27" fmla="*/ 45423 w 77155"/>
                <a:gd name="connsiteY27" fmla="*/ 16903 h 155569"/>
                <a:gd name="connsiteX28" fmla="*/ 36447 w 77155"/>
                <a:gd name="connsiteY28" fmla="*/ 15522 h 155569"/>
                <a:gd name="connsiteX29" fmla="*/ 25341 w 77155"/>
                <a:gd name="connsiteY29" fmla="*/ 17116 h 155569"/>
                <a:gd name="connsiteX30" fmla="*/ 17530 w 77155"/>
                <a:gd name="connsiteY30" fmla="*/ 20623 h 155569"/>
                <a:gd name="connsiteX31" fmla="*/ 12377 w 77155"/>
                <a:gd name="connsiteY31" fmla="*/ 24131 h 155569"/>
                <a:gd name="connsiteX32" fmla="*/ 9138 w 77155"/>
                <a:gd name="connsiteY32" fmla="*/ 25721 h 155569"/>
                <a:gd name="connsiteX33" fmla="*/ 4990 w 77155"/>
                <a:gd name="connsiteY33" fmla="*/ 23279 h 155569"/>
                <a:gd name="connsiteX34" fmla="*/ 20826 w 77155"/>
                <a:gd name="connsiteY34" fmla="*/ 142286 h 155569"/>
                <a:gd name="connsiteX35" fmla="*/ 24603 w 77155"/>
                <a:gd name="connsiteY35" fmla="*/ 132826 h 155569"/>
                <a:gd name="connsiteX36" fmla="*/ 28794 w 77155"/>
                <a:gd name="connsiteY36" fmla="*/ 129961 h 155569"/>
                <a:gd name="connsiteX37" fmla="*/ 39212 w 77155"/>
                <a:gd name="connsiteY37" fmla="*/ 129961 h 155569"/>
                <a:gd name="connsiteX38" fmla="*/ 43463 w 77155"/>
                <a:gd name="connsiteY38" fmla="*/ 132826 h 155569"/>
                <a:gd name="connsiteX39" fmla="*/ 46272 w 77155"/>
                <a:gd name="connsiteY39" fmla="*/ 137077 h 155569"/>
                <a:gd name="connsiteX40" fmla="*/ 46272 w 77155"/>
                <a:gd name="connsiteY40" fmla="*/ 147546 h 155569"/>
                <a:gd name="connsiteX41" fmla="*/ 39212 w 77155"/>
                <a:gd name="connsiteY41" fmla="*/ 154559 h 155569"/>
                <a:gd name="connsiteX42" fmla="*/ 28794 w 77155"/>
                <a:gd name="connsiteY42" fmla="*/ 154559 h 155569"/>
                <a:gd name="connsiteX43" fmla="*/ 24603 w 77155"/>
                <a:gd name="connsiteY43" fmla="*/ 151741 h 155569"/>
                <a:gd name="connsiteX44" fmla="*/ 20826 w 77155"/>
                <a:gd name="connsiteY44" fmla="*/ 142286 h 15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77155" h="155569">
                  <a:moveTo>
                    <a:pt x="0" y="15303"/>
                  </a:moveTo>
                  <a:cubicBezTo>
                    <a:pt x="2282" y="13181"/>
                    <a:pt x="4717" y="11229"/>
                    <a:pt x="7283" y="9461"/>
                  </a:cubicBezTo>
                  <a:cubicBezTo>
                    <a:pt x="10033" y="7569"/>
                    <a:pt x="12950" y="5933"/>
                    <a:pt x="15999" y="4573"/>
                  </a:cubicBezTo>
                  <a:cubicBezTo>
                    <a:pt x="19273" y="3112"/>
                    <a:pt x="22688" y="1991"/>
                    <a:pt x="26191" y="1225"/>
                  </a:cubicBezTo>
                  <a:cubicBezTo>
                    <a:pt x="30084" y="384"/>
                    <a:pt x="34058" y="-26"/>
                    <a:pt x="38041" y="2"/>
                  </a:cubicBezTo>
                  <a:cubicBezTo>
                    <a:pt x="43330" y="-46"/>
                    <a:pt x="48592" y="781"/>
                    <a:pt x="53612" y="2448"/>
                  </a:cubicBezTo>
                  <a:cubicBezTo>
                    <a:pt x="58141" y="3935"/>
                    <a:pt x="62341" y="6280"/>
                    <a:pt x="65984" y="9355"/>
                  </a:cubicBezTo>
                  <a:cubicBezTo>
                    <a:pt x="69463" y="12333"/>
                    <a:pt x="72256" y="16030"/>
                    <a:pt x="74169" y="20191"/>
                  </a:cubicBezTo>
                  <a:cubicBezTo>
                    <a:pt x="76206" y="24696"/>
                    <a:pt x="77223" y="29595"/>
                    <a:pt x="77146" y="34539"/>
                  </a:cubicBezTo>
                  <a:cubicBezTo>
                    <a:pt x="77256" y="39290"/>
                    <a:pt x="76444" y="44017"/>
                    <a:pt x="74755" y="48459"/>
                  </a:cubicBezTo>
                  <a:cubicBezTo>
                    <a:pt x="73277" y="52168"/>
                    <a:pt x="71235" y="55625"/>
                    <a:pt x="68700" y="58709"/>
                  </a:cubicBezTo>
                  <a:cubicBezTo>
                    <a:pt x="66339" y="61570"/>
                    <a:pt x="63644" y="64139"/>
                    <a:pt x="60673" y="66360"/>
                  </a:cubicBezTo>
                  <a:cubicBezTo>
                    <a:pt x="57770" y="68523"/>
                    <a:pt x="55061" y="70560"/>
                    <a:pt x="52543" y="72472"/>
                  </a:cubicBezTo>
                  <a:cubicBezTo>
                    <a:pt x="50231" y="74205"/>
                    <a:pt x="48065" y="76125"/>
                    <a:pt x="46066" y="78211"/>
                  </a:cubicBezTo>
                  <a:cubicBezTo>
                    <a:pt x="44346" y="79932"/>
                    <a:pt x="43244" y="82174"/>
                    <a:pt x="42931" y="84587"/>
                  </a:cubicBezTo>
                  <a:lnTo>
                    <a:pt x="41014" y="100842"/>
                  </a:lnTo>
                  <a:lnTo>
                    <a:pt x="28048" y="100842"/>
                  </a:lnTo>
                  <a:lnTo>
                    <a:pt x="26773" y="83206"/>
                  </a:lnTo>
                  <a:lnTo>
                    <a:pt x="26773" y="82034"/>
                  </a:lnTo>
                  <a:cubicBezTo>
                    <a:pt x="26729" y="79211"/>
                    <a:pt x="27565" y="76444"/>
                    <a:pt x="29164" y="74118"/>
                  </a:cubicBezTo>
                  <a:cubicBezTo>
                    <a:pt x="30880" y="71695"/>
                    <a:pt x="32917" y="69516"/>
                    <a:pt x="35219" y="67641"/>
                  </a:cubicBezTo>
                  <a:cubicBezTo>
                    <a:pt x="37666" y="65622"/>
                    <a:pt x="40290" y="63602"/>
                    <a:pt x="43089" y="61581"/>
                  </a:cubicBezTo>
                  <a:cubicBezTo>
                    <a:pt x="45882" y="59562"/>
                    <a:pt x="48510" y="57324"/>
                    <a:pt x="50949" y="54889"/>
                  </a:cubicBezTo>
                  <a:cubicBezTo>
                    <a:pt x="53395" y="52444"/>
                    <a:pt x="55438" y="49628"/>
                    <a:pt x="57004" y="46545"/>
                  </a:cubicBezTo>
                  <a:cubicBezTo>
                    <a:pt x="58673" y="43106"/>
                    <a:pt x="59493" y="39317"/>
                    <a:pt x="59395" y="35496"/>
                  </a:cubicBezTo>
                  <a:cubicBezTo>
                    <a:pt x="59432" y="32632"/>
                    <a:pt x="58815" y="29798"/>
                    <a:pt x="57591" y="27209"/>
                  </a:cubicBezTo>
                  <a:cubicBezTo>
                    <a:pt x="56422" y="24784"/>
                    <a:pt x="54759" y="22631"/>
                    <a:pt x="52707" y="20888"/>
                  </a:cubicBezTo>
                  <a:cubicBezTo>
                    <a:pt x="50559" y="19102"/>
                    <a:pt x="48086" y="17749"/>
                    <a:pt x="45423" y="16903"/>
                  </a:cubicBezTo>
                  <a:cubicBezTo>
                    <a:pt x="42524" y="15967"/>
                    <a:pt x="39494" y="15501"/>
                    <a:pt x="36447" y="15522"/>
                  </a:cubicBezTo>
                  <a:cubicBezTo>
                    <a:pt x="32682" y="15437"/>
                    <a:pt x="28930" y="15976"/>
                    <a:pt x="25341" y="17116"/>
                  </a:cubicBezTo>
                  <a:cubicBezTo>
                    <a:pt x="22624" y="18015"/>
                    <a:pt x="20007" y="19190"/>
                    <a:pt x="17530" y="20623"/>
                  </a:cubicBezTo>
                  <a:cubicBezTo>
                    <a:pt x="15735" y="21673"/>
                    <a:pt x="14013" y="22845"/>
                    <a:pt x="12377" y="24131"/>
                  </a:cubicBezTo>
                  <a:cubicBezTo>
                    <a:pt x="11496" y="24994"/>
                    <a:pt x="10360" y="25551"/>
                    <a:pt x="9138" y="25721"/>
                  </a:cubicBezTo>
                  <a:cubicBezTo>
                    <a:pt x="7408" y="25747"/>
                    <a:pt x="5808" y="24805"/>
                    <a:pt x="4990" y="23279"/>
                  </a:cubicBezTo>
                  <a:close/>
                  <a:moveTo>
                    <a:pt x="20826" y="142286"/>
                  </a:moveTo>
                  <a:cubicBezTo>
                    <a:pt x="20811" y="138762"/>
                    <a:pt x="22165" y="135370"/>
                    <a:pt x="24603" y="132826"/>
                  </a:cubicBezTo>
                  <a:cubicBezTo>
                    <a:pt x="25799" y="131606"/>
                    <a:pt x="27223" y="130633"/>
                    <a:pt x="28794" y="129961"/>
                  </a:cubicBezTo>
                  <a:cubicBezTo>
                    <a:pt x="32121" y="128541"/>
                    <a:pt x="35884" y="128541"/>
                    <a:pt x="39212" y="129961"/>
                  </a:cubicBezTo>
                  <a:cubicBezTo>
                    <a:pt x="40796" y="130641"/>
                    <a:pt x="42238" y="131613"/>
                    <a:pt x="43463" y="132826"/>
                  </a:cubicBezTo>
                  <a:cubicBezTo>
                    <a:pt x="44671" y="134044"/>
                    <a:pt x="45626" y="135489"/>
                    <a:pt x="46272" y="137077"/>
                  </a:cubicBezTo>
                  <a:cubicBezTo>
                    <a:pt x="47623" y="140436"/>
                    <a:pt x="47623" y="144187"/>
                    <a:pt x="46272" y="147546"/>
                  </a:cubicBezTo>
                  <a:cubicBezTo>
                    <a:pt x="44950" y="150733"/>
                    <a:pt x="42407" y="153258"/>
                    <a:pt x="39212" y="154559"/>
                  </a:cubicBezTo>
                  <a:cubicBezTo>
                    <a:pt x="35870" y="155906"/>
                    <a:pt x="32136" y="155906"/>
                    <a:pt x="28794" y="154559"/>
                  </a:cubicBezTo>
                  <a:cubicBezTo>
                    <a:pt x="27218" y="153918"/>
                    <a:pt x="25791" y="152958"/>
                    <a:pt x="24603" y="151741"/>
                  </a:cubicBezTo>
                  <a:cubicBezTo>
                    <a:pt x="22141" y="149214"/>
                    <a:pt x="20783" y="145813"/>
                    <a:pt x="20826" y="142286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</p:grpSp>
      <p:grpSp>
        <p:nvGrpSpPr>
          <p:cNvPr id="150" name="Gruppieren 149"/>
          <p:cNvGrpSpPr/>
          <p:nvPr/>
        </p:nvGrpSpPr>
        <p:grpSpPr>
          <a:xfrm rot="3620231">
            <a:off x="1633972" y="3435766"/>
            <a:ext cx="479852" cy="178421"/>
            <a:chOff x="3716777" y="1298527"/>
            <a:chExt cx="360000" cy="133857"/>
          </a:xfrm>
        </p:grpSpPr>
        <p:cxnSp>
          <p:nvCxnSpPr>
            <p:cNvPr id="151" name="Gerade Verbindung mit Pfeil 150">
              <a:extLst>
                <a:ext uri="{FF2B5EF4-FFF2-40B4-BE49-F238E27FC236}">
                  <a16:creationId xmlns:a16="http://schemas.microsoft.com/office/drawing/2014/main" id="{FA0A0170-C11C-9E4C-A41A-8FC52913BD35}"/>
                </a:ext>
              </a:extLst>
            </p:cNvPr>
            <p:cNvCxnSpPr/>
            <p:nvPr/>
          </p:nvCxnSpPr>
          <p:spPr>
            <a:xfrm>
              <a:off x="3716777" y="1430893"/>
              <a:ext cx="360000" cy="1491"/>
            </a:xfrm>
            <a:prstGeom prst="straightConnector1">
              <a:avLst/>
            </a:prstGeom>
            <a:ln w="9525">
              <a:solidFill>
                <a:srgbClr val="0061A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Gerade Verbindung mit Pfeil 151">
              <a:extLst>
                <a:ext uri="{FF2B5EF4-FFF2-40B4-BE49-F238E27FC236}">
                  <a16:creationId xmlns:a16="http://schemas.microsoft.com/office/drawing/2014/main" id="{FA0A0170-C11C-9E4C-A41A-8FC52913BD35}"/>
                </a:ext>
              </a:extLst>
            </p:cNvPr>
            <p:cNvCxnSpPr/>
            <p:nvPr/>
          </p:nvCxnSpPr>
          <p:spPr>
            <a:xfrm rot="10800000">
              <a:off x="3716777" y="1298527"/>
              <a:ext cx="360000" cy="1491"/>
            </a:xfrm>
            <a:prstGeom prst="straightConnector1">
              <a:avLst/>
            </a:prstGeom>
            <a:ln w="9525">
              <a:solidFill>
                <a:srgbClr val="0061A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4" name="Gruppieren 103"/>
          <p:cNvGrpSpPr>
            <a:grpSpLocks/>
          </p:cNvGrpSpPr>
          <p:nvPr/>
        </p:nvGrpSpPr>
        <p:grpSpPr>
          <a:xfrm>
            <a:off x="2028677" y="3921358"/>
            <a:ext cx="648000" cy="990000"/>
            <a:chOff x="9654747" y="2277839"/>
            <a:chExt cx="936000" cy="1402854"/>
          </a:xfrm>
        </p:grpSpPr>
        <p:sp>
          <p:nvSpPr>
            <p:cNvPr id="105" name="Freeform: Shape 380">
              <a:extLst>
                <a:ext uri="{FF2B5EF4-FFF2-40B4-BE49-F238E27FC236}">
                  <a16:creationId xmlns:a16="http://schemas.microsoft.com/office/drawing/2014/main" id="{832FD4CD-81B1-424E-9309-E03B59C22A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54747" y="2277839"/>
              <a:ext cx="936000" cy="936000"/>
            </a:xfrm>
            <a:custGeom>
              <a:avLst/>
              <a:gdLst>
                <a:gd name="connsiteX0" fmla="*/ 0 w 306268"/>
                <a:gd name="connsiteY0" fmla="*/ 0 h 306268"/>
                <a:gd name="connsiteX1" fmla="*/ 306269 w 306268"/>
                <a:gd name="connsiteY1" fmla="*/ 0 h 306268"/>
                <a:gd name="connsiteX2" fmla="*/ 306269 w 306268"/>
                <a:gd name="connsiteY2" fmla="*/ 306269 h 306268"/>
                <a:gd name="connsiteX3" fmla="*/ 0 w 306268"/>
                <a:gd name="connsiteY3" fmla="*/ 306269 h 3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268" h="306268">
                  <a:moveTo>
                    <a:pt x="0" y="0"/>
                  </a:moveTo>
                  <a:lnTo>
                    <a:pt x="306269" y="0"/>
                  </a:lnTo>
                  <a:lnTo>
                    <a:pt x="306269" y="306269"/>
                  </a:lnTo>
                  <a:lnTo>
                    <a:pt x="0" y="306269"/>
                  </a:lnTo>
                  <a:close/>
                </a:path>
              </a:pathLst>
            </a:custGeom>
            <a:solidFill>
              <a:schemeClr val="bg1"/>
            </a:solidFill>
            <a:ln w="19050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106" name="Ellipse 105"/>
            <p:cNvSpPr/>
            <p:nvPr/>
          </p:nvSpPr>
          <p:spPr>
            <a:xfrm>
              <a:off x="10020332" y="2436084"/>
              <a:ext cx="217133" cy="268841"/>
            </a:xfrm>
            <a:prstGeom prst="ellipse">
              <a:avLst/>
            </a:prstGeom>
            <a:noFill/>
            <a:ln w="25400">
              <a:solidFill>
                <a:srgbClr val="BFBFBF"/>
              </a:solidFill>
            </a:ln>
          </p:spPr>
          <p:txBody>
            <a:bodyPr wrap="square" rtlCol="0" anchor="ctr">
              <a:spAutoFit/>
            </a:bodyPr>
            <a:lstStyle/>
            <a:p>
              <a:pPr algn="l">
                <a:lnSpc>
                  <a:spcPct val="120000"/>
                </a:lnSpc>
                <a:buSzPct val="90000"/>
              </a:pPr>
              <a:endParaRPr lang="de-DE" sz="1600" b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grpSp>
          <p:nvGrpSpPr>
            <p:cNvPr id="108" name="Gruppieren 107"/>
            <p:cNvGrpSpPr/>
            <p:nvPr/>
          </p:nvGrpSpPr>
          <p:grpSpPr>
            <a:xfrm>
              <a:off x="9849227" y="2749755"/>
              <a:ext cx="557445" cy="930938"/>
              <a:chOff x="10628639" y="1971954"/>
              <a:chExt cx="1004541" cy="1159251"/>
            </a:xfrm>
          </p:grpSpPr>
          <p:cxnSp>
            <p:nvCxnSpPr>
              <p:cNvPr id="109" name="Gerader Verbinder 108"/>
              <p:cNvCxnSpPr/>
              <p:nvPr/>
            </p:nvCxnSpPr>
            <p:spPr>
              <a:xfrm>
                <a:off x="10927377" y="1976571"/>
                <a:ext cx="197763" cy="207899"/>
              </a:xfrm>
              <a:prstGeom prst="line">
                <a:avLst/>
              </a:prstGeom>
              <a:ln w="19050">
                <a:solidFill>
                  <a:srgbClr val="BFBFBF"/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/>
            </p:nvCxnSpPr>
            <p:spPr>
              <a:xfrm flipH="1">
                <a:off x="11121534" y="1974842"/>
                <a:ext cx="206728" cy="209628"/>
              </a:xfrm>
              <a:prstGeom prst="line">
                <a:avLst/>
              </a:prstGeom>
              <a:ln w="19050">
                <a:solidFill>
                  <a:srgbClr val="BFBFBF"/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111" name="Bogen 110"/>
              <p:cNvSpPr/>
              <p:nvPr/>
            </p:nvSpPr>
            <p:spPr>
              <a:xfrm>
                <a:off x="11023344" y="1971954"/>
                <a:ext cx="609836" cy="1159251"/>
              </a:xfrm>
              <a:prstGeom prst="arc">
                <a:avLst/>
              </a:prstGeom>
              <a:ln w="19050">
                <a:solidFill>
                  <a:srgbClr val="BFBF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2" name="Bogen 111"/>
              <p:cNvSpPr/>
              <p:nvPr/>
            </p:nvSpPr>
            <p:spPr>
              <a:xfrm flipH="1">
                <a:off x="10628639" y="1971954"/>
                <a:ext cx="586760" cy="1159251"/>
              </a:xfrm>
              <a:prstGeom prst="arc">
                <a:avLst/>
              </a:prstGeom>
              <a:ln w="19050">
                <a:solidFill>
                  <a:srgbClr val="BFBF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113" name="Gerader Verbinder 112"/>
              <p:cNvCxnSpPr>
                <a:stCxn id="112" idx="0"/>
                <a:endCxn id="111" idx="0"/>
              </p:cNvCxnSpPr>
              <p:nvPr/>
            </p:nvCxnSpPr>
            <p:spPr>
              <a:xfrm>
                <a:off x="10922019" y="1971954"/>
                <a:ext cx="406243" cy="0"/>
              </a:xfrm>
              <a:prstGeom prst="line">
                <a:avLst/>
              </a:prstGeom>
              <a:ln w="19050">
                <a:solidFill>
                  <a:srgbClr val="BFBF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8" name="Textfeld 7"/>
          <p:cNvSpPr txBox="1"/>
          <p:nvPr/>
        </p:nvSpPr>
        <p:spPr>
          <a:xfrm>
            <a:off x="1126774" y="5075360"/>
            <a:ext cx="3695036" cy="10833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de-DE" sz="1600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nowledge </a:t>
            </a: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s</a:t>
            </a:r>
            <a:r>
              <a:rPr lang="de-DE" sz="1600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stributed</a:t>
            </a:r>
            <a:r>
              <a:rPr lang="de-DE" sz="1600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ver</a:t>
            </a:r>
            <a:r>
              <a:rPr lang="de-DE" sz="1600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</a:t>
            </a:r>
            <a:r>
              <a:rPr lang="de-DE" sz="1600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ole</a:t>
            </a:r>
            <a:r>
              <a:rPr lang="de-DE" sz="1600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usiness</a:t>
            </a:r>
            <a:r>
              <a:rPr lang="de-DE" sz="1600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nit</a:t>
            </a:r>
            <a:endParaRPr lang="de-DE" sz="1600" dirty="0">
              <a:solidFill>
                <a:schemeClr val="accent3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algn="l"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nding</a:t>
            </a:r>
            <a:r>
              <a:rPr lang="de-DE" sz="1600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</a:t>
            </a:r>
            <a:r>
              <a:rPr lang="de-DE" sz="1600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lution</a:t>
            </a:r>
            <a:r>
              <a:rPr lang="de-DE" sz="1600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kes</a:t>
            </a:r>
            <a:r>
              <a:rPr lang="de-DE" sz="1600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ime </a:t>
            </a: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ven</a:t>
            </a:r>
            <a:r>
              <a:rPr lang="de-DE" sz="1600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ough</a:t>
            </a:r>
            <a:r>
              <a:rPr lang="de-DE" sz="1600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</a:t>
            </a:r>
            <a:r>
              <a:rPr lang="de-DE" sz="1600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ools</a:t>
            </a:r>
            <a:r>
              <a:rPr lang="de-DE" sz="1600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re</a:t>
            </a:r>
            <a:r>
              <a:rPr lang="de-DE" sz="1600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vailable</a:t>
            </a:r>
            <a:endParaRPr lang="de-DE" sz="1600" dirty="0">
              <a:solidFill>
                <a:schemeClr val="accent3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08B94D10-42BA-3CFE-D263-F74B14078791}"/>
              </a:ext>
            </a:extLst>
          </p:cNvPr>
          <p:cNvGrpSpPr/>
          <p:nvPr/>
        </p:nvGrpSpPr>
        <p:grpSpPr>
          <a:xfrm>
            <a:off x="6615694" y="5355722"/>
            <a:ext cx="648000" cy="781448"/>
            <a:chOff x="10085866" y="4761862"/>
            <a:chExt cx="648000" cy="781448"/>
          </a:xfrm>
        </p:grpSpPr>
        <p:sp>
          <p:nvSpPr>
            <p:cNvPr id="18" name="Text Placeholder 9">
              <a:extLst>
                <a:ext uri="{FF2B5EF4-FFF2-40B4-BE49-F238E27FC236}">
                  <a16:creationId xmlns:a16="http://schemas.microsoft.com/office/drawing/2014/main" id="{0270F40E-80A3-0A95-5E1A-CBED3ADD7F2B}"/>
                </a:ext>
              </a:extLst>
            </p:cNvPr>
            <p:cNvSpPr txBox="1">
              <a:spLocks/>
            </p:cNvSpPr>
            <p:nvPr/>
          </p:nvSpPr>
          <p:spPr>
            <a:xfrm>
              <a:off x="10085866" y="4895310"/>
              <a:ext cx="648000" cy="648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75000"/>
                </a:schemeClr>
              </a:solidFill>
            </a:ln>
          </p:spPr>
          <p:txBody>
            <a:bodyPr lIns="0" tIns="0" rIns="0" bIns="0" anchor="ctr"/>
            <a:lstStyle>
              <a:lvl1pPr marL="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Tx/>
                <a:buNone/>
                <a:defRPr sz="1200" kern="1200" spc="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DE" sz="1800" dirty="0">
                <a:latin typeface="Lato" panose="020F0502020204030203" pitchFamily="34" charset="0"/>
              </a:endParaRP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83482663-214A-0DBE-45B9-49E7B4F60669}"/>
                </a:ext>
              </a:extLst>
            </p:cNvPr>
            <p:cNvSpPr txBox="1"/>
            <p:nvPr/>
          </p:nvSpPr>
          <p:spPr>
            <a:xfrm>
              <a:off x="10209477" y="4761862"/>
              <a:ext cx="489558" cy="6402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</a:pPr>
              <a:r>
                <a:rPr lang="de-DE" sz="4000" dirty="0">
                  <a:solidFill>
                    <a:srgbClr val="BFBFBF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.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550172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6676027" y="4629995"/>
            <a:ext cx="837533" cy="1584000"/>
          </a:xfrm>
          <a:prstGeom prst="rect">
            <a:avLst/>
          </a:prstGeom>
          <a:solidFill>
            <a:schemeClr val="tx1"/>
          </a:solidFill>
        </p:spPr>
        <p:txBody>
          <a:bodyPr wrap="square" rtlCol="0" anchor="ctr">
            <a:spAutoFit/>
          </a:bodyPr>
          <a:lstStyle/>
          <a:p>
            <a:pPr algn="l">
              <a:lnSpc>
                <a:spcPct val="120000"/>
              </a:lnSpc>
              <a:buSzPct val="90000"/>
            </a:pPr>
            <a:endParaRPr lang="de-DE" sz="1600" b="1">
              <a:solidFill>
                <a:schemeClr val="accent3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ALYSIS IN THE FUTUR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I BUILDS BRIDG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715260" y="1384599"/>
            <a:ext cx="10936378" cy="553998"/>
          </a:xfrm>
        </p:spPr>
        <p:txBody>
          <a:bodyPr/>
          <a:lstStyle/>
          <a:p>
            <a:r>
              <a:rPr lang="en-US" dirty="0"/>
              <a:t>Case handlers are in dialog, assistant acts as interfac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Networking: Apply resources where they are needed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@2025 INNOWERK - FRANKFURT AM MAIN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6 November 2025</a:t>
            </a:r>
            <a:endParaRPr lang="de-DE" dirty="0"/>
          </a:p>
        </p:txBody>
      </p:sp>
      <p:grpSp>
        <p:nvGrpSpPr>
          <p:cNvPr id="69" name="Gruppieren 68"/>
          <p:cNvGrpSpPr>
            <a:grpSpLocks noChangeAspect="1"/>
          </p:cNvGrpSpPr>
          <p:nvPr/>
        </p:nvGrpSpPr>
        <p:grpSpPr>
          <a:xfrm>
            <a:off x="6777534" y="3016930"/>
            <a:ext cx="648000" cy="648000"/>
            <a:chOff x="8086827" y="3158289"/>
            <a:chExt cx="423396" cy="423396"/>
          </a:xfrm>
        </p:grpSpPr>
        <p:sp>
          <p:nvSpPr>
            <p:cNvPr id="9" name="Text Placeholder 9">
              <a:extLst>
                <a:ext uri="{FF2B5EF4-FFF2-40B4-BE49-F238E27FC236}">
                  <a16:creationId xmlns:a16="http://schemas.microsoft.com/office/drawing/2014/main" id="{230E794D-8076-4D3A-B81A-BF643648BC14}"/>
                </a:ext>
              </a:extLst>
            </p:cNvPr>
            <p:cNvSpPr txBox="1">
              <a:spLocks/>
            </p:cNvSpPr>
            <p:nvPr/>
          </p:nvSpPr>
          <p:spPr>
            <a:xfrm>
              <a:off x="8086827" y="3158289"/>
              <a:ext cx="423396" cy="423396"/>
            </a:xfrm>
            <a:prstGeom prst="rect">
              <a:avLst/>
            </a:prstGeom>
            <a:noFill/>
            <a:ln w="19050">
              <a:solidFill>
                <a:schemeClr val="bg1">
                  <a:lumMod val="75000"/>
                </a:schemeClr>
              </a:solidFill>
            </a:ln>
          </p:spPr>
          <p:txBody>
            <a:bodyPr lIns="0" tIns="0" rIns="0" bIns="0" anchor="ctr"/>
            <a:lstStyle>
              <a:lvl1pPr marL="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Tx/>
                <a:buNone/>
                <a:defRPr sz="1200" kern="1200" spc="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DE" sz="1800" dirty="0">
                <a:latin typeface="Lato" panose="020F0502020204030203" pitchFamily="34" charset="0"/>
              </a:endParaRPr>
            </a:p>
          </p:txBody>
        </p:sp>
        <p:sp>
          <p:nvSpPr>
            <p:cNvPr id="10" name="Freeform: Shape 272">
              <a:extLst>
                <a:ext uri="{FF2B5EF4-FFF2-40B4-BE49-F238E27FC236}">
                  <a16:creationId xmlns:a16="http://schemas.microsoft.com/office/drawing/2014/main" id="{B057B430-2DE4-4E28-AAB7-D0D4FD658EEE}"/>
                </a:ext>
              </a:extLst>
            </p:cNvPr>
            <p:cNvSpPr/>
            <p:nvPr/>
          </p:nvSpPr>
          <p:spPr>
            <a:xfrm>
              <a:off x="8194347" y="3246985"/>
              <a:ext cx="213520" cy="265465"/>
            </a:xfrm>
            <a:custGeom>
              <a:avLst/>
              <a:gdLst>
                <a:gd name="connsiteX0" fmla="*/ 18830 w 160140"/>
                <a:gd name="connsiteY0" fmla="*/ 0 h 199099"/>
                <a:gd name="connsiteX1" fmla="*/ 102190 w 160140"/>
                <a:gd name="connsiteY1" fmla="*/ 0 h 199099"/>
                <a:gd name="connsiteX2" fmla="*/ 107184 w 160140"/>
                <a:gd name="connsiteY2" fmla="*/ 2247 h 199099"/>
                <a:gd name="connsiteX3" fmla="*/ 158116 w 160140"/>
                <a:gd name="connsiteY3" fmla="*/ 57633 h 199099"/>
                <a:gd name="connsiteX4" fmla="*/ 160140 w 160140"/>
                <a:gd name="connsiteY4" fmla="*/ 63031 h 199099"/>
                <a:gd name="connsiteX5" fmla="*/ 160140 w 160140"/>
                <a:gd name="connsiteY5" fmla="*/ 178535 h 199099"/>
                <a:gd name="connsiteX6" fmla="*/ 154638 w 160140"/>
                <a:gd name="connsiteY6" fmla="*/ 193033 h 199099"/>
                <a:gd name="connsiteX7" fmla="*/ 154601 w 160140"/>
                <a:gd name="connsiteY7" fmla="*/ 193033 h 199099"/>
                <a:gd name="connsiteX8" fmla="*/ 154423 w 160140"/>
                <a:gd name="connsiteY8" fmla="*/ 193230 h 199099"/>
                <a:gd name="connsiteX9" fmla="*/ 141312 w 160140"/>
                <a:gd name="connsiteY9" fmla="*/ 199099 h 199099"/>
                <a:gd name="connsiteX10" fmla="*/ 18830 w 160140"/>
                <a:gd name="connsiteY10" fmla="*/ 199099 h 199099"/>
                <a:gd name="connsiteX11" fmla="*/ 5560 w 160140"/>
                <a:gd name="connsiteY11" fmla="*/ 193033 h 199099"/>
                <a:gd name="connsiteX12" fmla="*/ 5541 w 160140"/>
                <a:gd name="connsiteY12" fmla="*/ 193033 h 199099"/>
                <a:gd name="connsiteX13" fmla="*/ 1 w 160140"/>
                <a:gd name="connsiteY13" fmla="*/ 178535 h 199099"/>
                <a:gd name="connsiteX14" fmla="*/ 1 w 160140"/>
                <a:gd name="connsiteY14" fmla="*/ 20484 h 199099"/>
                <a:gd name="connsiteX15" fmla="*/ 5541 w 160140"/>
                <a:gd name="connsiteY15" fmla="*/ 5990 h 199099"/>
                <a:gd name="connsiteX16" fmla="*/ 18830 w 160140"/>
                <a:gd name="connsiteY16" fmla="*/ 0 h 199099"/>
                <a:gd name="connsiteX17" fmla="*/ 146090 w 160140"/>
                <a:gd name="connsiteY17" fmla="*/ 67601 h 199099"/>
                <a:gd name="connsiteX18" fmla="*/ 114008 w 160140"/>
                <a:gd name="connsiteY18" fmla="*/ 67601 h 199099"/>
                <a:gd name="connsiteX19" fmla="*/ 102674 w 160140"/>
                <a:gd name="connsiteY19" fmla="*/ 62477 h 199099"/>
                <a:gd name="connsiteX20" fmla="*/ 102459 w 160140"/>
                <a:gd name="connsiteY20" fmla="*/ 62244 h 199099"/>
                <a:gd name="connsiteX21" fmla="*/ 97983 w 160140"/>
                <a:gd name="connsiteY21" fmla="*/ 50147 h 199099"/>
                <a:gd name="connsiteX22" fmla="*/ 97983 w 160140"/>
                <a:gd name="connsiteY22" fmla="*/ 15286 h 199099"/>
                <a:gd name="connsiteX23" fmla="*/ 18830 w 160140"/>
                <a:gd name="connsiteY23" fmla="*/ 15286 h 199099"/>
                <a:gd name="connsiteX24" fmla="*/ 15496 w 160140"/>
                <a:gd name="connsiteY24" fmla="*/ 16822 h 199099"/>
                <a:gd name="connsiteX25" fmla="*/ 14084 w 160140"/>
                <a:gd name="connsiteY25" fmla="*/ 20485 h 199099"/>
                <a:gd name="connsiteX26" fmla="*/ 14084 w 160140"/>
                <a:gd name="connsiteY26" fmla="*/ 178535 h 199099"/>
                <a:gd name="connsiteX27" fmla="*/ 15496 w 160140"/>
                <a:gd name="connsiteY27" fmla="*/ 182237 h 199099"/>
                <a:gd name="connsiteX28" fmla="*/ 15459 w 160140"/>
                <a:gd name="connsiteY28" fmla="*/ 182237 h 199099"/>
                <a:gd name="connsiteX29" fmla="*/ 18826 w 160140"/>
                <a:gd name="connsiteY29" fmla="*/ 183734 h 199099"/>
                <a:gd name="connsiteX30" fmla="*/ 141306 w 160140"/>
                <a:gd name="connsiteY30" fmla="*/ 183734 h 199099"/>
                <a:gd name="connsiteX31" fmla="*/ 144676 w 160140"/>
                <a:gd name="connsiteY31" fmla="*/ 182237 h 199099"/>
                <a:gd name="connsiteX32" fmla="*/ 144710 w 160140"/>
                <a:gd name="connsiteY32" fmla="*/ 182237 h 199099"/>
                <a:gd name="connsiteX33" fmla="*/ 146086 w 160140"/>
                <a:gd name="connsiteY33" fmla="*/ 178535 h 199099"/>
                <a:gd name="connsiteX34" fmla="*/ 146086 w 160140"/>
                <a:gd name="connsiteY34" fmla="*/ 67601 h 199099"/>
                <a:gd name="connsiteX35" fmla="*/ 138959 w 160140"/>
                <a:gd name="connsiteY35" fmla="*/ 58423 h 199099"/>
                <a:gd name="connsiteX36" fmla="*/ 138959 w 160140"/>
                <a:gd name="connsiteY36" fmla="*/ 58423 h 199099"/>
                <a:gd name="connsiteX37" fmla="*/ 106404 w 160140"/>
                <a:gd name="connsiteY37" fmla="*/ 23046 h 199099"/>
                <a:gd name="connsiteX38" fmla="*/ 106404 w 160140"/>
                <a:gd name="connsiteY38" fmla="*/ 50150 h 199099"/>
                <a:gd name="connsiteX39" fmla="*/ 108451 w 160140"/>
                <a:gd name="connsiteY39" fmla="*/ 55781 h 199099"/>
                <a:gd name="connsiteX40" fmla="*/ 108651 w 160140"/>
                <a:gd name="connsiteY40" fmla="*/ 56019 h 199099"/>
                <a:gd name="connsiteX41" fmla="*/ 114008 w 160140"/>
                <a:gd name="connsiteY41" fmla="*/ 58423 h 199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60140" h="199099">
                  <a:moveTo>
                    <a:pt x="18830" y="0"/>
                  </a:moveTo>
                  <a:lnTo>
                    <a:pt x="102190" y="0"/>
                  </a:lnTo>
                  <a:cubicBezTo>
                    <a:pt x="104097" y="10"/>
                    <a:pt x="105911" y="826"/>
                    <a:pt x="107184" y="2247"/>
                  </a:cubicBezTo>
                  <a:lnTo>
                    <a:pt x="158116" y="57633"/>
                  </a:lnTo>
                  <a:cubicBezTo>
                    <a:pt x="159445" y="59114"/>
                    <a:pt x="160168" y="61041"/>
                    <a:pt x="160140" y="63031"/>
                  </a:cubicBezTo>
                  <a:lnTo>
                    <a:pt x="160140" y="178535"/>
                  </a:lnTo>
                  <a:cubicBezTo>
                    <a:pt x="160186" y="183886"/>
                    <a:pt x="158223" y="189059"/>
                    <a:pt x="154638" y="193033"/>
                  </a:cubicBezTo>
                  <a:lnTo>
                    <a:pt x="154601" y="193033"/>
                  </a:lnTo>
                  <a:lnTo>
                    <a:pt x="154423" y="193230"/>
                  </a:lnTo>
                  <a:cubicBezTo>
                    <a:pt x="151057" y="196921"/>
                    <a:pt x="146308" y="199047"/>
                    <a:pt x="141312" y="199099"/>
                  </a:cubicBezTo>
                  <a:lnTo>
                    <a:pt x="18830" y="199099"/>
                  </a:lnTo>
                  <a:cubicBezTo>
                    <a:pt x="13750" y="199035"/>
                    <a:pt x="8932" y="196833"/>
                    <a:pt x="5560" y="193033"/>
                  </a:cubicBezTo>
                  <a:lnTo>
                    <a:pt x="5541" y="193033"/>
                  </a:lnTo>
                  <a:cubicBezTo>
                    <a:pt x="1931" y="189072"/>
                    <a:pt x="-48" y="183893"/>
                    <a:pt x="1" y="178535"/>
                  </a:cubicBezTo>
                  <a:lnTo>
                    <a:pt x="1" y="20484"/>
                  </a:lnTo>
                  <a:cubicBezTo>
                    <a:pt x="-41" y="15128"/>
                    <a:pt x="1937" y="9953"/>
                    <a:pt x="5541" y="5990"/>
                  </a:cubicBezTo>
                  <a:cubicBezTo>
                    <a:pt x="8932" y="2215"/>
                    <a:pt x="13755" y="41"/>
                    <a:pt x="18830" y="0"/>
                  </a:cubicBezTo>
                  <a:close/>
                  <a:moveTo>
                    <a:pt x="146090" y="67601"/>
                  </a:moveTo>
                  <a:lnTo>
                    <a:pt x="114008" y="67601"/>
                  </a:lnTo>
                  <a:cubicBezTo>
                    <a:pt x="109680" y="67555"/>
                    <a:pt x="105568" y="65697"/>
                    <a:pt x="102674" y="62477"/>
                  </a:cubicBezTo>
                  <a:lnTo>
                    <a:pt x="102459" y="62244"/>
                  </a:lnTo>
                  <a:cubicBezTo>
                    <a:pt x="99547" y="58890"/>
                    <a:pt x="97955" y="54590"/>
                    <a:pt x="97983" y="50147"/>
                  </a:cubicBezTo>
                  <a:lnTo>
                    <a:pt x="97983" y="15286"/>
                  </a:lnTo>
                  <a:lnTo>
                    <a:pt x="18830" y="15286"/>
                  </a:lnTo>
                  <a:cubicBezTo>
                    <a:pt x="17555" y="15318"/>
                    <a:pt x="16349" y="15873"/>
                    <a:pt x="15496" y="16822"/>
                  </a:cubicBezTo>
                  <a:cubicBezTo>
                    <a:pt x="14576" y="17819"/>
                    <a:pt x="14071" y="19129"/>
                    <a:pt x="14084" y="20485"/>
                  </a:cubicBezTo>
                  <a:lnTo>
                    <a:pt x="14084" y="178535"/>
                  </a:lnTo>
                  <a:cubicBezTo>
                    <a:pt x="14077" y="179902"/>
                    <a:pt x="14581" y="181222"/>
                    <a:pt x="15496" y="182237"/>
                  </a:cubicBezTo>
                  <a:lnTo>
                    <a:pt x="15459" y="182237"/>
                  </a:lnTo>
                  <a:cubicBezTo>
                    <a:pt x="16324" y="183183"/>
                    <a:pt x="17544" y="183725"/>
                    <a:pt x="18826" y="183734"/>
                  </a:cubicBezTo>
                  <a:lnTo>
                    <a:pt x="141306" y="183734"/>
                  </a:lnTo>
                  <a:cubicBezTo>
                    <a:pt x="142590" y="183732"/>
                    <a:pt x="143814" y="183188"/>
                    <a:pt x="144676" y="182237"/>
                  </a:cubicBezTo>
                  <a:lnTo>
                    <a:pt x="144710" y="182237"/>
                  </a:lnTo>
                  <a:cubicBezTo>
                    <a:pt x="145584" y="181200"/>
                    <a:pt x="146071" y="179891"/>
                    <a:pt x="146086" y="178535"/>
                  </a:cubicBezTo>
                  <a:lnTo>
                    <a:pt x="146086" y="67601"/>
                  </a:lnTo>
                  <a:close/>
                  <a:moveTo>
                    <a:pt x="138959" y="58423"/>
                  </a:moveTo>
                  <a:lnTo>
                    <a:pt x="138959" y="58423"/>
                  </a:lnTo>
                  <a:lnTo>
                    <a:pt x="106404" y="23046"/>
                  </a:lnTo>
                  <a:lnTo>
                    <a:pt x="106404" y="50150"/>
                  </a:lnTo>
                  <a:cubicBezTo>
                    <a:pt x="106389" y="52212"/>
                    <a:pt x="107116" y="54210"/>
                    <a:pt x="108451" y="55781"/>
                  </a:cubicBezTo>
                  <a:lnTo>
                    <a:pt x="108651" y="56019"/>
                  </a:lnTo>
                  <a:cubicBezTo>
                    <a:pt x="110031" y="57522"/>
                    <a:pt x="111968" y="58391"/>
                    <a:pt x="114008" y="58423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</p:grpSp>
      <p:grpSp>
        <p:nvGrpSpPr>
          <p:cNvPr id="76" name="Gruppieren 75"/>
          <p:cNvGrpSpPr/>
          <p:nvPr/>
        </p:nvGrpSpPr>
        <p:grpSpPr>
          <a:xfrm>
            <a:off x="6780000" y="4699404"/>
            <a:ext cx="648000" cy="648000"/>
            <a:chOff x="8407867" y="3826834"/>
            <a:chExt cx="423396" cy="423396"/>
          </a:xfrm>
        </p:grpSpPr>
        <p:sp>
          <p:nvSpPr>
            <p:cNvPr id="11" name="Text Placeholder 9">
              <a:extLst>
                <a:ext uri="{FF2B5EF4-FFF2-40B4-BE49-F238E27FC236}">
                  <a16:creationId xmlns:a16="http://schemas.microsoft.com/office/drawing/2014/main" id="{230E794D-8076-4D3A-B81A-BF643648BC14}"/>
                </a:ext>
              </a:extLst>
            </p:cNvPr>
            <p:cNvSpPr txBox="1">
              <a:spLocks/>
            </p:cNvSpPr>
            <p:nvPr/>
          </p:nvSpPr>
          <p:spPr>
            <a:xfrm>
              <a:off x="8407867" y="3826834"/>
              <a:ext cx="423396" cy="42339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75000"/>
                </a:schemeClr>
              </a:solidFill>
            </a:ln>
          </p:spPr>
          <p:txBody>
            <a:bodyPr lIns="0" tIns="0" rIns="0" bIns="0" anchor="ctr"/>
            <a:lstStyle>
              <a:lvl1pPr marL="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Tx/>
                <a:buNone/>
                <a:defRPr sz="1200" kern="1200" spc="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DE" sz="1800" dirty="0">
                <a:latin typeface="Lato" panose="020F0502020204030203" pitchFamily="34" charset="0"/>
              </a:endParaRPr>
            </a:p>
          </p:txBody>
        </p:sp>
        <p:sp>
          <p:nvSpPr>
            <p:cNvPr id="12" name="Freeform: Shape 262">
              <a:extLst>
                <a:ext uri="{FF2B5EF4-FFF2-40B4-BE49-F238E27FC236}">
                  <a16:creationId xmlns:a16="http://schemas.microsoft.com/office/drawing/2014/main" id="{A970AD53-41D1-4E8B-A09E-0E3C6EC0B40E}"/>
                </a:ext>
              </a:extLst>
            </p:cNvPr>
            <p:cNvSpPr/>
            <p:nvPr/>
          </p:nvSpPr>
          <p:spPr>
            <a:xfrm>
              <a:off x="8474895" y="3914772"/>
              <a:ext cx="265484" cy="265453"/>
            </a:xfrm>
            <a:custGeom>
              <a:avLst/>
              <a:gdLst>
                <a:gd name="connsiteX0" fmla="*/ 21049 w 199113"/>
                <a:gd name="connsiteY0" fmla="*/ 158927 h 199090"/>
                <a:gd name="connsiteX1" fmla="*/ 66657 w 199113"/>
                <a:gd name="connsiteY1" fmla="*/ 91856 h 199090"/>
                <a:gd name="connsiteX2" fmla="*/ 77601 w 199113"/>
                <a:gd name="connsiteY2" fmla="*/ 89735 h 199090"/>
                <a:gd name="connsiteX3" fmla="*/ 77611 w 199113"/>
                <a:gd name="connsiteY3" fmla="*/ 89742 h 199090"/>
                <a:gd name="connsiteX4" fmla="*/ 79746 w 199113"/>
                <a:gd name="connsiteY4" fmla="*/ 91898 h 199090"/>
                <a:gd name="connsiteX5" fmla="*/ 88121 w 199113"/>
                <a:gd name="connsiteY5" fmla="*/ 104256 h 199090"/>
                <a:gd name="connsiteX6" fmla="*/ 118728 w 199113"/>
                <a:gd name="connsiteY6" fmla="*/ 59177 h 199090"/>
                <a:gd name="connsiteX7" fmla="*/ 129682 w 199113"/>
                <a:gd name="connsiteY7" fmla="*/ 57062 h 199090"/>
                <a:gd name="connsiteX8" fmla="*/ 131816 w 199113"/>
                <a:gd name="connsiteY8" fmla="*/ 59253 h 199090"/>
                <a:gd name="connsiteX9" fmla="*/ 141024 w 199113"/>
                <a:gd name="connsiteY9" fmla="*/ 72789 h 199090"/>
                <a:gd name="connsiteX10" fmla="*/ 176510 w 199113"/>
                <a:gd name="connsiteY10" fmla="*/ 20592 h 199090"/>
                <a:gd name="connsiteX11" fmla="*/ 187400 w 199113"/>
                <a:gd name="connsiteY11" fmla="*/ 18477 h 199090"/>
                <a:gd name="connsiteX12" fmla="*/ 190857 w 199113"/>
                <a:gd name="connsiteY12" fmla="*/ 25025 h 199090"/>
                <a:gd name="connsiteX13" fmla="*/ 190899 w 199113"/>
                <a:gd name="connsiteY13" fmla="*/ 25025 h 199090"/>
                <a:gd name="connsiteX14" fmla="*/ 190899 w 199113"/>
                <a:gd name="connsiteY14" fmla="*/ 163930 h 199090"/>
                <a:gd name="connsiteX15" fmla="*/ 182993 w 199113"/>
                <a:gd name="connsiteY15" fmla="*/ 171856 h 199090"/>
                <a:gd name="connsiteX16" fmla="*/ 27164 w 199113"/>
                <a:gd name="connsiteY16" fmla="*/ 171856 h 199090"/>
                <a:gd name="connsiteX17" fmla="*/ 19239 w 199113"/>
                <a:gd name="connsiteY17" fmla="*/ 163930 h 199090"/>
                <a:gd name="connsiteX18" fmla="*/ 21048 w 199113"/>
                <a:gd name="connsiteY18" fmla="*/ 158927 h 199090"/>
                <a:gd name="connsiteX19" fmla="*/ 4874 w 199113"/>
                <a:gd name="connsiteY19" fmla="*/ 199090 h 199090"/>
                <a:gd name="connsiteX20" fmla="*/ 194379 w 199113"/>
                <a:gd name="connsiteY20" fmla="*/ 199090 h 199090"/>
                <a:gd name="connsiteX21" fmla="*/ 199113 w 199113"/>
                <a:gd name="connsiteY21" fmla="*/ 194355 h 199090"/>
                <a:gd name="connsiteX22" fmla="*/ 194379 w 199113"/>
                <a:gd name="connsiteY22" fmla="*/ 189620 h 199090"/>
                <a:gd name="connsiteX23" fmla="*/ 9491 w 199113"/>
                <a:gd name="connsiteY23" fmla="*/ 189620 h 199090"/>
                <a:gd name="connsiteX24" fmla="*/ 9491 w 199113"/>
                <a:gd name="connsiteY24" fmla="*/ 4745 h 199090"/>
                <a:gd name="connsiteX25" fmla="*/ 4745 w 199113"/>
                <a:gd name="connsiteY25" fmla="*/ 0 h 199090"/>
                <a:gd name="connsiteX26" fmla="*/ 0 w 199113"/>
                <a:gd name="connsiteY26" fmla="*/ 4745 h 199090"/>
                <a:gd name="connsiteX27" fmla="*/ 0 w 199113"/>
                <a:gd name="connsiteY27" fmla="*/ 194333 h 199090"/>
                <a:gd name="connsiteX28" fmla="*/ 4753 w 199113"/>
                <a:gd name="connsiteY28" fmla="*/ 199091 h 199090"/>
                <a:gd name="connsiteX29" fmla="*/ 73204 w 199113"/>
                <a:gd name="connsiteY29" fmla="*/ 110229 h 199090"/>
                <a:gd name="connsiteX30" fmla="*/ 73204 w 199113"/>
                <a:gd name="connsiteY30" fmla="*/ 110229 h 199090"/>
                <a:gd name="connsiteX31" fmla="*/ 42023 w 199113"/>
                <a:gd name="connsiteY31" fmla="*/ 155999 h 199090"/>
                <a:gd name="connsiteX32" fmla="*/ 175110 w 199113"/>
                <a:gd name="connsiteY32" fmla="*/ 155999 h 199090"/>
                <a:gd name="connsiteX33" fmla="*/ 175110 w 199113"/>
                <a:gd name="connsiteY33" fmla="*/ 50599 h 199090"/>
                <a:gd name="connsiteX34" fmla="*/ 147592 w 199113"/>
                <a:gd name="connsiteY34" fmla="*/ 91088 h 199090"/>
                <a:gd name="connsiteX35" fmla="*/ 145436 w 199113"/>
                <a:gd name="connsiteY35" fmla="*/ 93278 h 199090"/>
                <a:gd name="connsiteX36" fmla="*/ 134523 w 199113"/>
                <a:gd name="connsiteY36" fmla="*/ 91164 h 199090"/>
                <a:gd name="connsiteX37" fmla="*/ 125257 w 199113"/>
                <a:gd name="connsiteY37" fmla="*/ 77585 h 199090"/>
                <a:gd name="connsiteX38" fmla="*/ 94666 w 199113"/>
                <a:gd name="connsiteY38" fmla="*/ 122543 h 199090"/>
                <a:gd name="connsiteX39" fmla="*/ 92531 w 199113"/>
                <a:gd name="connsiteY39" fmla="*/ 124741 h 199090"/>
                <a:gd name="connsiteX40" fmla="*/ 81638 w 199113"/>
                <a:gd name="connsiteY40" fmla="*/ 122627 h 199090"/>
                <a:gd name="connsiteX41" fmla="*/ 73204 w 199113"/>
                <a:gd name="connsiteY41" fmla="*/ 110226 h 199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99113" h="199090">
                  <a:moveTo>
                    <a:pt x="21049" y="158927"/>
                  </a:moveTo>
                  <a:lnTo>
                    <a:pt x="66657" y="91856"/>
                  </a:lnTo>
                  <a:cubicBezTo>
                    <a:pt x="69093" y="88248"/>
                    <a:pt x="73994" y="87299"/>
                    <a:pt x="77601" y="89735"/>
                  </a:cubicBezTo>
                  <a:cubicBezTo>
                    <a:pt x="77604" y="89738"/>
                    <a:pt x="77608" y="89740"/>
                    <a:pt x="77611" y="89742"/>
                  </a:cubicBezTo>
                  <a:cubicBezTo>
                    <a:pt x="78453" y="90318"/>
                    <a:pt x="79178" y="91050"/>
                    <a:pt x="79746" y="91898"/>
                  </a:cubicBezTo>
                  <a:lnTo>
                    <a:pt x="88121" y="104256"/>
                  </a:lnTo>
                  <a:lnTo>
                    <a:pt x="118728" y="59177"/>
                  </a:lnTo>
                  <a:cubicBezTo>
                    <a:pt x="121179" y="55583"/>
                    <a:pt x="126070" y="54639"/>
                    <a:pt x="129682" y="57062"/>
                  </a:cubicBezTo>
                  <a:cubicBezTo>
                    <a:pt x="130521" y="57656"/>
                    <a:pt x="131245" y="58399"/>
                    <a:pt x="131816" y="59253"/>
                  </a:cubicBezTo>
                  <a:lnTo>
                    <a:pt x="141024" y="72789"/>
                  </a:lnTo>
                  <a:lnTo>
                    <a:pt x="176510" y="20592"/>
                  </a:lnTo>
                  <a:cubicBezTo>
                    <a:pt x="178933" y="17001"/>
                    <a:pt x="183809" y="16054"/>
                    <a:pt x="187400" y="18477"/>
                  </a:cubicBezTo>
                  <a:cubicBezTo>
                    <a:pt x="189575" y="19945"/>
                    <a:pt x="190872" y="22402"/>
                    <a:pt x="190857" y="25025"/>
                  </a:cubicBezTo>
                  <a:lnTo>
                    <a:pt x="190899" y="25025"/>
                  </a:lnTo>
                  <a:lnTo>
                    <a:pt x="190899" y="163930"/>
                  </a:lnTo>
                  <a:cubicBezTo>
                    <a:pt x="190890" y="168296"/>
                    <a:pt x="187359" y="171835"/>
                    <a:pt x="182993" y="171856"/>
                  </a:cubicBezTo>
                  <a:lnTo>
                    <a:pt x="27164" y="171856"/>
                  </a:lnTo>
                  <a:cubicBezTo>
                    <a:pt x="22789" y="171852"/>
                    <a:pt x="19243" y="168306"/>
                    <a:pt x="19239" y="163930"/>
                  </a:cubicBezTo>
                  <a:cubicBezTo>
                    <a:pt x="19230" y="162101"/>
                    <a:pt x="19871" y="160328"/>
                    <a:pt x="21048" y="158927"/>
                  </a:cubicBezTo>
                  <a:close/>
                  <a:moveTo>
                    <a:pt x="4874" y="199090"/>
                  </a:moveTo>
                  <a:lnTo>
                    <a:pt x="194379" y="199090"/>
                  </a:lnTo>
                  <a:cubicBezTo>
                    <a:pt x="196994" y="199090"/>
                    <a:pt x="199113" y="196970"/>
                    <a:pt x="199113" y="194355"/>
                  </a:cubicBezTo>
                  <a:cubicBezTo>
                    <a:pt x="199113" y="191740"/>
                    <a:pt x="196994" y="189620"/>
                    <a:pt x="194379" y="189620"/>
                  </a:cubicBezTo>
                  <a:lnTo>
                    <a:pt x="9491" y="189620"/>
                  </a:lnTo>
                  <a:lnTo>
                    <a:pt x="9491" y="4745"/>
                  </a:lnTo>
                  <a:cubicBezTo>
                    <a:pt x="9491" y="2125"/>
                    <a:pt x="7366" y="0"/>
                    <a:pt x="4745" y="0"/>
                  </a:cubicBezTo>
                  <a:cubicBezTo>
                    <a:pt x="2125" y="0"/>
                    <a:pt x="0" y="2125"/>
                    <a:pt x="0" y="4745"/>
                  </a:cubicBezTo>
                  <a:lnTo>
                    <a:pt x="0" y="194333"/>
                  </a:lnTo>
                  <a:cubicBezTo>
                    <a:pt x="3" y="196958"/>
                    <a:pt x="2128" y="199085"/>
                    <a:pt x="4753" y="199091"/>
                  </a:cubicBezTo>
                  <a:close/>
                  <a:moveTo>
                    <a:pt x="73204" y="110229"/>
                  </a:moveTo>
                  <a:lnTo>
                    <a:pt x="73204" y="110229"/>
                  </a:lnTo>
                  <a:lnTo>
                    <a:pt x="42023" y="155999"/>
                  </a:lnTo>
                  <a:lnTo>
                    <a:pt x="175110" y="155999"/>
                  </a:lnTo>
                  <a:lnTo>
                    <a:pt x="175110" y="50599"/>
                  </a:lnTo>
                  <a:lnTo>
                    <a:pt x="147592" y="91088"/>
                  </a:lnTo>
                  <a:cubicBezTo>
                    <a:pt x="147006" y="91938"/>
                    <a:pt x="146277" y="92679"/>
                    <a:pt x="145436" y="93278"/>
                  </a:cubicBezTo>
                  <a:cubicBezTo>
                    <a:pt x="141833" y="95682"/>
                    <a:pt x="136967" y="94739"/>
                    <a:pt x="134523" y="91164"/>
                  </a:cubicBezTo>
                  <a:lnTo>
                    <a:pt x="125257" y="77585"/>
                  </a:lnTo>
                  <a:lnTo>
                    <a:pt x="94666" y="122543"/>
                  </a:lnTo>
                  <a:cubicBezTo>
                    <a:pt x="94093" y="123399"/>
                    <a:pt x="93370" y="124144"/>
                    <a:pt x="92531" y="124741"/>
                  </a:cubicBezTo>
                  <a:cubicBezTo>
                    <a:pt x="88934" y="127142"/>
                    <a:pt x="84075" y="126199"/>
                    <a:pt x="81638" y="122627"/>
                  </a:cubicBezTo>
                  <a:lnTo>
                    <a:pt x="73204" y="110226"/>
                  </a:lnTo>
                  <a:close/>
                </a:path>
              </a:pathLst>
            </a:custGeom>
            <a:solidFill>
              <a:srgbClr val="BFBFB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</p:grpSp>
      <p:grpSp>
        <p:nvGrpSpPr>
          <p:cNvPr id="32" name="Gruppieren 31"/>
          <p:cNvGrpSpPr/>
          <p:nvPr/>
        </p:nvGrpSpPr>
        <p:grpSpPr>
          <a:xfrm>
            <a:off x="6779890" y="3857238"/>
            <a:ext cx="648000" cy="648000"/>
            <a:chOff x="6779890" y="3857238"/>
            <a:chExt cx="648000" cy="648000"/>
          </a:xfrm>
        </p:grpSpPr>
        <p:sp>
          <p:nvSpPr>
            <p:cNvPr id="13" name="Text Placeholder 9">
              <a:extLst>
                <a:ext uri="{FF2B5EF4-FFF2-40B4-BE49-F238E27FC236}">
                  <a16:creationId xmlns:a16="http://schemas.microsoft.com/office/drawing/2014/main" id="{230E794D-8076-4D3A-B81A-BF643648BC14}"/>
                </a:ext>
              </a:extLst>
            </p:cNvPr>
            <p:cNvSpPr txBox="1">
              <a:spLocks/>
            </p:cNvSpPr>
            <p:nvPr/>
          </p:nvSpPr>
          <p:spPr>
            <a:xfrm>
              <a:off x="6779890" y="3857238"/>
              <a:ext cx="648000" cy="648000"/>
            </a:xfrm>
            <a:prstGeom prst="rect">
              <a:avLst/>
            </a:prstGeom>
            <a:noFill/>
            <a:ln w="19050">
              <a:solidFill>
                <a:schemeClr val="bg1">
                  <a:lumMod val="75000"/>
                </a:schemeClr>
              </a:solidFill>
            </a:ln>
          </p:spPr>
          <p:txBody>
            <a:bodyPr lIns="0" tIns="0" rIns="0" bIns="0" anchor="ctr"/>
            <a:lstStyle>
              <a:lvl1pPr marL="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Tx/>
                <a:buNone/>
                <a:defRPr sz="1200" kern="1200" spc="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DE" sz="1800" dirty="0">
                <a:latin typeface="Lato" panose="020F0502020204030203" pitchFamily="34" charset="0"/>
              </a:endParaRPr>
            </a:p>
          </p:txBody>
        </p:sp>
        <p:sp>
          <p:nvSpPr>
            <p:cNvPr id="14" name="Freeform: Shape 303">
              <a:extLst>
                <a:ext uri="{FF2B5EF4-FFF2-40B4-BE49-F238E27FC236}">
                  <a16:creationId xmlns:a16="http://schemas.microsoft.com/office/drawing/2014/main" id="{94154BD1-6AA6-4F25-9B66-5A7D6DEA30DD}"/>
                </a:ext>
              </a:extLst>
            </p:cNvPr>
            <p:cNvSpPr/>
            <p:nvPr/>
          </p:nvSpPr>
          <p:spPr>
            <a:xfrm>
              <a:off x="6907939" y="3977996"/>
              <a:ext cx="406484" cy="406484"/>
            </a:xfrm>
            <a:custGeom>
              <a:avLst/>
              <a:gdLst>
                <a:gd name="connsiteX0" fmla="*/ 99509 w 199194"/>
                <a:gd name="connsiteY0" fmla="*/ 0 h 199194"/>
                <a:gd name="connsiteX1" fmla="*/ 199194 w 199194"/>
                <a:gd name="connsiteY1" fmla="*/ 99509 h 199194"/>
                <a:gd name="connsiteX2" fmla="*/ 99686 w 199194"/>
                <a:gd name="connsiteY2" fmla="*/ 199194 h 199194"/>
                <a:gd name="connsiteX3" fmla="*/ 0 w 199194"/>
                <a:gd name="connsiteY3" fmla="*/ 99686 h 199194"/>
                <a:gd name="connsiteX4" fmla="*/ 29153 w 199194"/>
                <a:gd name="connsiteY4" fmla="*/ 29189 h 199194"/>
                <a:gd name="connsiteX5" fmla="*/ 99509 w 199194"/>
                <a:gd name="connsiteY5" fmla="*/ 0 h 199194"/>
                <a:gd name="connsiteX6" fmla="*/ 94942 w 199194"/>
                <a:gd name="connsiteY6" fmla="*/ 183693 h 199194"/>
                <a:gd name="connsiteX7" fmla="*/ 94942 w 199194"/>
                <a:gd name="connsiteY7" fmla="*/ 183693 h 199194"/>
                <a:gd name="connsiteX8" fmla="*/ 94942 w 199194"/>
                <a:gd name="connsiteY8" fmla="*/ 151430 h 199194"/>
                <a:gd name="connsiteX9" fmla="*/ 69097 w 199194"/>
                <a:gd name="connsiteY9" fmla="*/ 156787 h 199194"/>
                <a:gd name="connsiteX10" fmla="*/ 65632 w 199194"/>
                <a:gd name="connsiteY10" fmla="*/ 158126 h 199194"/>
                <a:gd name="connsiteX11" fmla="*/ 67758 w 199194"/>
                <a:gd name="connsiteY11" fmla="*/ 162342 h 199194"/>
                <a:gd name="connsiteX12" fmla="*/ 85644 w 199194"/>
                <a:gd name="connsiteY12" fmla="*/ 182670 h 199194"/>
                <a:gd name="connsiteX13" fmla="*/ 94942 w 199194"/>
                <a:gd name="connsiteY13" fmla="*/ 183693 h 199194"/>
                <a:gd name="connsiteX14" fmla="*/ 159074 w 199194"/>
                <a:gd name="connsiteY14" fmla="*/ 39984 h 199194"/>
                <a:gd name="connsiteX15" fmla="*/ 159074 w 199194"/>
                <a:gd name="connsiteY15" fmla="*/ 39984 h 199194"/>
                <a:gd name="connsiteX16" fmla="*/ 156948 w 199194"/>
                <a:gd name="connsiteY16" fmla="*/ 37975 h 199194"/>
                <a:gd name="connsiteX17" fmla="*/ 145287 w 199194"/>
                <a:gd name="connsiteY17" fmla="*/ 45458 h 199194"/>
                <a:gd name="connsiteX18" fmla="*/ 154584 w 199194"/>
                <a:gd name="connsiteY18" fmla="*/ 94980 h 199194"/>
                <a:gd name="connsiteX19" fmla="*/ 183657 w 199194"/>
                <a:gd name="connsiteY19" fmla="*/ 94980 h 199194"/>
                <a:gd name="connsiteX20" fmla="*/ 159074 w 199194"/>
                <a:gd name="connsiteY20" fmla="*/ 39984 h 199194"/>
                <a:gd name="connsiteX21" fmla="*/ 149700 w 199194"/>
                <a:gd name="connsiteY21" fmla="*/ 31949 h 199194"/>
                <a:gd name="connsiteX22" fmla="*/ 149700 w 199194"/>
                <a:gd name="connsiteY22" fmla="*/ 31949 h 199194"/>
                <a:gd name="connsiteX23" fmla="*/ 132600 w 199194"/>
                <a:gd name="connsiteY23" fmla="*/ 22058 h 199194"/>
                <a:gd name="connsiteX24" fmla="*/ 139300 w 199194"/>
                <a:gd name="connsiteY24" fmla="*/ 32380 h 199194"/>
                <a:gd name="connsiteX25" fmla="*/ 141663 w 199194"/>
                <a:gd name="connsiteY25" fmla="*/ 36991 h 199194"/>
                <a:gd name="connsiteX26" fmla="*/ 149700 w 199194"/>
                <a:gd name="connsiteY26" fmla="*/ 31949 h 199194"/>
                <a:gd name="connsiteX27" fmla="*/ 113378 w 199194"/>
                <a:gd name="connsiteY27" fmla="*/ 16467 h 199194"/>
                <a:gd name="connsiteX28" fmla="*/ 113378 w 199194"/>
                <a:gd name="connsiteY28" fmla="*/ 16467 h 199194"/>
                <a:gd name="connsiteX29" fmla="*/ 104080 w 199194"/>
                <a:gd name="connsiteY29" fmla="*/ 15442 h 199194"/>
                <a:gd name="connsiteX30" fmla="*/ 104080 w 199194"/>
                <a:gd name="connsiteY30" fmla="*/ 47705 h 199194"/>
                <a:gd name="connsiteX31" fmla="*/ 129921 w 199194"/>
                <a:gd name="connsiteY31" fmla="*/ 42348 h 199194"/>
                <a:gd name="connsiteX32" fmla="*/ 133390 w 199194"/>
                <a:gd name="connsiteY32" fmla="*/ 41009 h 199194"/>
                <a:gd name="connsiteX33" fmla="*/ 131260 w 199194"/>
                <a:gd name="connsiteY33" fmla="*/ 36793 h 199194"/>
                <a:gd name="connsiteX34" fmla="*/ 113378 w 199194"/>
                <a:gd name="connsiteY34" fmla="*/ 16467 h 199194"/>
                <a:gd name="connsiteX35" fmla="*/ 94942 w 199194"/>
                <a:gd name="connsiteY35" fmla="*/ 15442 h 199194"/>
                <a:gd name="connsiteX36" fmla="*/ 94942 w 199194"/>
                <a:gd name="connsiteY36" fmla="*/ 15442 h 199194"/>
                <a:gd name="connsiteX37" fmla="*/ 85644 w 199194"/>
                <a:gd name="connsiteY37" fmla="*/ 16467 h 199194"/>
                <a:gd name="connsiteX38" fmla="*/ 67758 w 199194"/>
                <a:gd name="connsiteY38" fmla="*/ 36793 h 199194"/>
                <a:gd name="connsiteX39" fmla="*/ 65632 w 199194"/>
                <a:gd name="connsiteY39" fmla="*/ 41009 h 199194"/>
                <a:gd name="connsiteX40" fmla="*/ 69097 w 199194"/>
                <a:gd name="connsiteY40" fmla="*/ 42348 h 199194"/>
                <a:gd name="connsiteX41" fmla="*/ 94942 w 199194"/>
                <a:gd name="connsiteY41" fmla="*/ 47705 h 199194"/>
                <a:gd name="connsiteX42" fmla="*/ 94942 w 199194"/>
                <a:gd name="connsiteY42" fmla="*/ 15442 h 199194"/>
                <a:gd name="connsiteX43" fmla="*/ 66419 w 199194"/>
                <a:gd name="connsiteY43" fmla="*/ 22058 h 199194"/>
                <a:gd name="connsiteX44" fmla="*/ 66419 w 199194"/>
                <a:gd name="connsiteY44" fmla="*/ 22058 h 199194"/>
                <a:gd name="connsiteX45" fmla="*/ 49242 w 199194"/>
                <a:gd name="connsiteY45" fmla="*/ 31949 h 199194"/>
                <a:gd name="connsiteX46" fmla="*/ 57358 w 199194"/>
                <a:gd name="connsiteY46" fmla="*/ 36991 h 199194"/>
                <a:gd name="connsiteX47" fmla="*/ 59723 w 199194"/>
                <a:gd name="connsiteY47" fmla="*/ 32380 h 199194"/>
                <a:gd name="connsiteX48" fmla="*/ 66419 w 199194"/>
                <a:gd name="connsiteY48" fmla="*/ 22058 h 199194"/>
                <a:gd name="connsiteX49" fmla="*/ 42074 w 199194"/>
                <a:gd name="connsiteY49" fmla="*/ 37975 h 199194"/>
                <a:gd name="connsiteX50" fmla="*/ 42074 w 199194"/>
                <a:gd name="connsiteY50" fmla="*/ 37975 h 199194"/>
                <a:gd name="connsiteX51" fmla="*/ 39948 w 199194"/>
                <a:gd name="connsiteY51" fmla="*/ 39984 h 199194"/>
                <a:gd name="connsiteX52" fmla="*/ 15365 w 199194"/>
                <a:gd name="connsiteY52" fmla="*/ 94980 h 199194"/>
                <a:gd name="connsiteX53" fmla="*/ 44438 w 199194"/>
                <a:gd name="connsiteY53" fmla="*/ 94980 h 199194"/>
                <a:gd name="connsiteX54" fmla="*/ 53736 w 199194"/>
                <a:gd name="connsiteY54" fmla="*/ 45458 h 199194"/>
                <a:gd name="connsiteX55" fmla="*/ 42074 w 199194"/>
                <a:gd name="connsiteY55" fmla="*/ 37975 h 199194"/>
                <a:gd name="connsiteX56" fmla="*/ 15365 w 199194"/>
                <a:gd name="connsiteY56" fmla="*/ 104157 h 199194"/>
                <a:gd name="connsiteX57" fmla="*/ 15365 w 199194"/>
                <a:gd name="connsiteY57" fmla="*/ 104157 h 199194"/>
                <a:gd name="connsiteX58" fmla="*/ 39948 w 199194"/>
                <a:gd name="connsiteY58" fmla="*/ 159110 h 199194"/>
                <a:gd name="connsiteX59" fmla="*/ 42074 w 199194"/>
                <a:gd name="connsiteY59" fmla="*/ 161120 h 199194"/>
                <a:gd name="connsiteX60" fmla="*/ 53736 w 199194"/>
                <a:gd name="connsiteY60" fmla="*/ 153713 h 199194"/>
                <a:gd name="connsiteX61" fmla="*/ 44438 w 199194"/>
                <a:gd name="connsiteY61" fmla="*/ 104157 h 199194"/>
                <a:gd name="connsiteX62" fmla="*/ 49242 w 199194"/>
                <a:gd name="connsiteY62" fmla="*/ 167187 h 199194"/>
                <a:gd name="connsiteX63" fmla="*/ 49242 w 199194"/>
                <a:gd name="connsiteY63" fmla="*/ 167187 h 199194"/>
                <a:gd name="connsiteX64" fmla="*/ 66419 w 199194"/>
                <a:gd name="connsiteY64" fmla="*/ 177034 h 199194"/>
                <a:gd name="connsiteX65" fmla="*/ 59723 w 199194"/>
                <a:gd name="connsiteY65" fmla="*/ 166755 h 199194"/>
                <a:gd name="connsiteX66" fmla="*/ 57358 w 199194"/>
                <a:gd name="connsiteY66" fmla="*/ 162104 h 199194"/>
                <a:gd name="connsiteX67" fmla="*/ 49242 w 199194"/>
                <a:gd name="connsiteY67" fmla="*/ 167187 h 199194"/>
                <a:gd name="connsiteX68" fmla="*/ 104080 w 199194"/>
                <a:gd name="connsiteY68" fmla="*/ 183693 h 199194"/>
                <a:gd name="connsiteX69" fmla="*/ 104080 w 199194"/>
                <a:gd name="connsiteY69" fmla="*/ 183693 h 199194"/>
                <a:gd name="connsiteX70" fmla="*/ 113378 w 199194"/>
                <a:gd name="connsiteY70" fmla="*/ 182670 h 199194"/>
                <a:gd name="connsiteX71" fmla="*/ 131260 w 199194"/>
                <a:gd name="connsiteY71" fmla="*/ 162342 h 199194"/>
                <a:gd name="connsiteX72" fmla="*/ 133390 w 199194"/>
                <a:gd name="connsiteY72" fmla="*/ 158126 h 199194"/>
                <a:gd name="connsiteX73" fmla="*/ 129921 w 199194"/>
                <a:gd name="connsiteY73" fmla="*/ 156787 h 199194"/>
                <a:gd name="connsiteX74" fmla="*/ 104079 w 199194"/>
                <a:gd name="connsiteY74" fmla="*/ 151430 h 199194"/>
                <a:gd name="connsiteX75" fmla="*/ 104080 w 199194"/>
                <a:gd name="connsiteY75" fmla="*/ 183693 h 199194"/>
                <a:gd name="connsiteX76" fmla="*/ 132600 w 199194"/>
                <a:gd name="connsiteY76" fmla="*/ 177034 h 199194"/>
                <a:gd name="connsiteX77" fmla="*/ 132600 w 199194"/>
                <a:gd name="connsiteY77" fmla="*/ 177034 h 199194"/>
                <a:gd name="connsiteX78" fmla="*/ 149700 w 199194"/>
                <a:gd name="connsiteY78" fmla="*/ 167187 h 199194"/>
                <a:gd name="connsiteX79" fmla="*/ 141663 w 199194"/>
                <a:gd name="connsiteY79" fmla="*/ 162104 h 199194"/>
                <a:gd name="connsiteX80" fmla="*/ 139300 w 199194"/>
                <a:gd name="connsiteY80" fmla="*/ 166755 h 199194"/>
                <a:gd name="connsiteX81" fmla="*/ 132600 w 199194"/>
                <a:gd name="connsiteY81" fmla="*/ 177034 h 199194"/>
                <a:gd name="connsiteX82" fmla="*/ 156948 w 199194"/>
                <a:gd name="connsiteY82" fmla="*/ 161120 h 199194"/>
                <a:gd name="connsiteX83" fmla="*/ 156948 w 199194"/>
                <a:gd name="connsiteY83" fmla="*/ 161120 h 199194"/>
                <a:gd name="connsiteX84" fmla="*/ 159074 w 199194"/>
                <a:gd name="connsiteY84" fmla="*/ 159110 h 199194"/>
                <a:gd name="connsiteX85" fmla="*/ 183657 w 199194"/>
                <a:gd name="connsiteY85" fmla="*/ 104157 h 199194"/>
                <a:gd name="connsiteX86" fmla="*/ 154582 w 199194"/>
                <a:gd name="connsiteY86" fmla="*/ 104157 h 199194"/>
                <a:gd name="connsiteX87" fmla="*/ 145285 w 199194"/>
                <a:gd name="connsiteY87" fmla="*/ 153714 h 199194"/>
                <a:gd name="connsiteX88" fmla="*/ 156946 w 199194"/>
                <a:gd name="connsiteY88" fmla="*/ 161120 h 199194"/>
                <a:gd name="connsiteX89" fmla="*/ 137012 w 199194"/>
                <a:gd name="connsiteY89" fmla="*/ 49440 h 199194"/>
                <a:gd name="connsiteX90" fmla="*/ 137012 w 199194"/>
                <a:gd name="connsiteY90" fmla="*/ 49440 h 199194"/>
                <a:gd name="connsiteX91" fmla="*/ 133152 w 199194"/>
                <a:gd name="connsiteY91" fmla="*/ 50937 h 199194"/>
                <a:gd name="connsiteX92" fmla="*/ 104080 w 199194"/>
                <a:gd name="connsiteY92" fmla="*/ 56882 h 199194"/>
                <a:gd name="connsiteX93" fmla="*/ 104080 w 199194"/>
                <a:gd name="connsiteY93" fmla="*/ 94982 h 199194"/>
                <a:gd name="connsiteX94" fmla="*/ 145367 w 199194"/>
                <a:gd name="connsiteY94" fmla="*/ 94982 h 199194"/>
                <a:gd name="connsiteX95" fmla="*/ 137013 w 199194"/>
                <a:gd name="connsiteY95" fmla="*/ 49443 h 199194"/>
                <a:gd name="connsiteX96" fmla="*/ 94942 w 199194"/>
                <a:gd name="connsiteY96" fmla="*/ 56882 h 199194"/>
                <a:gd name="connsiteX97" fmla="*/ 94942 w 199194"/>
                <a:gd name="connsiteY97" fmla="*/ 56882 h 199194"/>
                <a:gd name="connsiteX98" fmla="*/ 65866 w 199194"/>
                <a:gd name="connsiteY98" fmla="*/ 50937 h 199194"/>
                <a:gd name="connsiteX99" fmla="*/ 62006 w 199194"/>
                <a:gd name="connsiteY99" fmla="*/ 49440 h 199194"/>
                <a:gd name="connsiteX100" fmla="*/ 53578 w 199194"/>
                <a:gd name="connsiteY100" fmla="*/ 94980 h 199194"/>
                <a:gd name="connsiteX101" fmla="*/ 94942 w 199194"/>
                <a:gd name="connsiteY101" fmla="*/ 94980 h 199194"/>
                <a:gd name="connsiteX102" fmla="*/ 94942 w 199194"/>
                <a:gd name="connsiteY102" fmla="*/ 56880 h 199194"/>
                <a:gd name="connsiteX103" fmla="*/ 94942 w 199194"/>
                <a:gd name="connsiteY103" fmla="*/ 142249 h 199194"/>
                <a:gd name="connsiteX104" fmla="*/ 94942 w 199194"/>
                <a:gd name="connsiteY104" fmla="*/ 142249 h 199194"/>
                <a:gd name="connsiteX105" fmla="*/ 94942 w 199194"/>
                <a:gd name="connsiteY105" fmla="*/ 104157 h 199194"/>
                <a:gd name="connsiteX106" fmla="*/ 53578 w 199194"/>
                <a:gd name="connsiteY106" fmla="*/ 104157 h 199194"/>
                <a:gd name="connsiteX107" fmla="*/ 62006 w 199194"/>
                <a:gd name="connsiteY107" fmla="*/ 149696 h 199194"/>
                <a:gd name="connsiteX108" fmla="*/ 65866 w 199194"/>
                <a:gd name="connsiteY108" fmla="*/ 148200 h 199194"/>
                <a:gd name="connsiteX109" fmla="*/ 94943 w 199194"/>
                <a:gd name="connsiteY109" fmla="*/ 142249 h 199194"/>
                <a:gd name="connsiteX110" fmla="*/ 104080 w 199194"/>
                <a:gd name="connsiteY110" fmla="*/ 142249 h 199194"/>
                <a:gd name="connsiteX111" fmla="*/ 104080 w 199194"/>
                <a:gd name="connsiteY111" fmla="*/ 142249 h 199194"/>
                <a:gd name="connsiteX112" fmla="*/ 133152 w 199194"/>
                <a:gd name="connsiteY112" fmla="*/ 148199 h 199194"/>
                <a:gd name="connsiteX113" fmla="*/ 136936 w 199194"/>
                <a:gd name="connsiteY113" fmla="*/ 149696 h 199194"/>
                <a:gd name="connsiteX114" fmla="*/ 145366 w 199194"/>
                <a:gd name="connsiteY114" fmla="*/ 104157 h 199194"/>
                <a:gd name="connsiteX115" fmla="*/ 104080 w 199194"/>
                <a:gd name="connsiteY115" fmla="*/ 104157 h 199194"/>
                <a:gd name="connsiteX116" fmla="*/ 104080 w 199194"/>
                <a:gd name="connsiteY116" fmla="*/ 142252 h 199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</a:cxnLst>
              <a:rect l="l" t="t" r="r" b="b"/>
              <a:pathLst>
                <a:path w="199194" h="199194">
                  <a:moveTo>
                    <a:pt x="99509" y="0"/>
                  </a:moveTo>
                  <a:cubicBezTo>
                    <a:pt x="154514" y="-49"/>
                    <a:pt x="199145" y="44503"/>
                    <a:pt x="199194" y="99509"/>
                  </a:cubicBezTo>
                  <a:cubicBezTo>
                    <a:pt x="199243" y="154515"/>
                    <a:pt x="154692" y="199146"/>
                    <a:pt x="99686" y="199194"/>
                  </a:cubicBezTo>
                  <a:cubicBezTo>
                    <a:pt x="44680" y="199243"/>
                    <a:pt x="49" y="154692"/>
                    <a:pt x="0" y="99686"/>
                  </a:cubicBezTo>
                  <a:cubicBezTo>
                    <a:pt x="-23" y="73249"/>
                    <a:pt x="10465" y="47888"/>
                    <a:pt x="29153" y="29189"/>
                  </a:cubicBezTo>
                  <a:cubicBezTo>
                    <a:pt x="47792" y="10492"/>
                    <a:pt x="73109" y="-11"/>
                    <a:pt x="99509" y="0"/>
                  </a:cubicBezTo>
                  <a:close/>
                  <a:moveTo>
                    <a:pt x="94942" y="183693"/>
                  </a:moveTo>
                  <a:lnTo>
                    <a:pt x="94942" y="183693"/>
                  </a:lnTo>
                  <a:lnTo>
                    <a:pt x="94942" y="151430"/>
                  </a:lnTo>
                  <a:cubicBezTo>
                    <a:pt x="86101" y="151867"/>
                    <a:pt x="77383" y="153674"/>
                    <a:pt x="69097" y="156787"/>
                  </a:cubicBezTo>
                  <a:cubicBezTo>
                    <a:pt x="67915" y="157183"/>
                    <a:pt x="66734" y="157654"/>
                    <a:pt x="65632" y="158126"/>
                  </a:cubicBezTo>
                  <a:cubicBezTo>
                    <a:pt x="66341" y="159583"/>
                    <a:pt x="67048" y="160962"/>
                    <a:pt x="67758" y="162342"/>
                  </a:cubicBezTo>
                  <a:cubicBezTo>
                    <a:pt x="71895" y="170528"/>
                    <a:pt x="78051" y="177524"/>
                    <a:pt x="85644" y="182670"/>
                  </a:cubicBezTo>
                  <a:cubicBezTo>
                    <a:pt x="88723" y="183179"/>
                    <a:pt x="91826" y="183521"/>
                    <a:pt x="94942" y="183693"/>
                  </a:cubicBezTo>
                  <a:close/>
                  <a:moveTo>
                    <a:pt x="159074" y="39984"/>
                  </a:moveTo>
                  <a:lnTo>
                    <a:pt x="159074" y="39984"/>
                  </a:lnTo>
                  <a:cubicBezTo>
                    <a:pt x="158364" y="39314"/>
                    <a:pt x="157656" y="38645"/>
                    <a:pt x="156948" y="37975"/>
                  </a:cubicBezTo>
                  <a:cubicBezTo>
                    <a:pt x="153260" y="40768"/>
                    <a:pt x="149361" y="43269"/>
                    <a:pt x="145287" y="45458"/>
                  </a:cubicBezTo>
                  <a:cubicBezTo>
                    <a:pt x="151141" y="61327"/>
                    <a:pt x="154284" y="78068"/>
                    <a:pt x="154584" y="94980"/>
                  </a:cubicBezTo>
                  <a:lnTo>
                    <a:pt x="183657" y="94980"/>
                  </a:lnTo>
                  <a:cubicBezTo>
                    <a:pt x="182496" y="74250"/>
                    <a:pt x="173746" y="54674"/>
                    <a:pt x="159074" y="39984"/>
                  </a:cubicBezTo>
                  <a:close/>
                  <a:moveTo>
                    <a:pt x="149700" y="31949"/>
                  </a:moveTo>
                  <a:lnTo>
                    <a:pt x="149700" y="31949"/>
                  </a:lnTo>
                  <a:cubicBezTo>
                    <a:pt x="144410" y="27989"/>
                    <a:pt x="138670" y="24669"/>
                    <a:pt x="132600" y="22058"/>
                  </a:cubicBezTo>
                  <a:cubicBezTo>
                    <a:pt x="135048" y="25355"/>
                    <a:pt x="137286" y="28802"/>
                    <a:pt x="139300" y="32380"/>
                  </a:cubicBezTo>
                  <a:cubicBezTo>
                    <a:pt x="140086" y="33877"/>
                    <a:pt x="140873" y="35414"/>
                    <a:pt x="141663" y="36991"/>
                  </a:cubicBezTo>
                  <a:cubicBezTo>
                    <a:pt x="144419" y="35454"/>
                    <a:pt x="147092" y="33760"/>
                    <a:pt x="149700" y="31949"/>
                  </a:cubicBezTo>
                  <a:close/>
                  <a:moveTo>
                    <a:pt x="113378" y="16467"/>
                  </a:moveTo>
                  <a:lnTo>
                    <a:pt x="113378" y="16467"/>
                  </a:lnTo>
                  <a:cubicBezTo>
                    <a:pt x="110299" y="15961"/>
                    <a:pt x="107195" y="15619"/>
                    <a:pt x="104080" y="15442"/>
                  </a:cubicBezTo>
                  <a:lnTo>
                    <a:pt x="104080" y="47705"/>
                  </a:lnTo>
                  <a:cubicBezTo>
                    <a:pt x="112916" y="47249"/>
                    <a:pt x="121632" y="45443"/>
                    <a:pt x="129921" y="42348"/>
                  </a:cubicBezTo>
                  <a:cubicBezTo>
                    <a:pt x="131103" y="41953"/>
                    <a:pt x="132285" y="41481"/>
                    <a:pt x="133390" y="41009"/>
                  </a:cubicBezTo>
                  <a:cubicBezTo>
                    <a:pt x="132680" y="39549"/>
                    <a:pt x="131970" y="38132"/>
                    <a:pt x="131260" y="36793"/>
                  </a:cubicBezTo>
                  <a:cubicBezTo>
                    <a:pt x="127111" y="28616"/>
                    <a:pt x="120960" y="21624"/>
                    <a:pt x="113378" y="16467"/>
                  </a:cubicBezTo>
                  <a:close/>
                  <a:moveTo>
                    <a:pt x="94942" y="15442"/>
                  </a:moveTo>
                  <a:lnTo>
                    <a:pt x="94942" y="15442"/>
                  </a:lnTo>
                  <a:cubicBezTo>
                    <a:pt x="91826" y="15615"/>
                    <a:pt x="88722" y="15957"/>
                    <a:pt x="85644" y="16467"/>
                  </a:cubicBezTo>
                  <a:cubicBezTo>
                    <a:pt x="78041" y="21601"/>
                    <a:pt x="71882" y="28599"/>
                    <a:pt x="67758" y="36793"/>
                  </a:cubicBezTo>
                  <a:cubicBezTo>
                    <a:pt x="67048" y="38132"/>
                    <a:pt x="66341" y="39549"/>
                    <a:pt x="65632" y="41009"/>
                  </a:cubicBezTo>
                  <a:cubicBezTo>
                    <a:pt x="66734" y="41485"/>
                    <a:pt x="67918" y="41953"/>
                    <a:pt x="69097" y="42348"/>
                  </a:cubicBezTo>
                  <a:cubicBezTo>
                    <a:pt x="77388" y="45443"/>
                    <a:pt x="86104" y="47249"/>
                    <a:pt x="94942" y="47705"/>
                  </a:cubicBezTo>
                  <a:lnTo>
                    <a:pt x="94942" y="15442"/>
                  </a:lnTo>
                  <a:close/>
                  <a:moveTo>
                    <a:pt x="66419" y="22058"/>
                  </a:moveTo>
                  <a:lnTo>
                    <a:pt x="66419" y="22058"/>
                  </a:lnTo>
                  <a:cubicBezTo>
                    <a:pt x="60334" y="24687"/>
                    <a:pt x="54571" y="28006"/>
                    <a:pt x="49242" y="31949"/>
                  </a:cubicBezTo>
                  <a:cubicBezTo>
                    <a:pt x="51843" y="33759"/>
                    <a:pt x="54603" y="35454"/>
                    <a:pt x="57358" y="36991"/>
                  </a:cubicBezTo>
                  <a:cubicBezTo>
                    <a:pt x="58145" y="35414"/>
                    <a:pt x="58933" y="33877"/>
                    <a:pt x="59723" y="32380"/>
                  </a:cubicBezTo>
                  <a:cubicBezTo>
                    <a:pt x="61733" y="28801"/>
                    <a:pt x="63970" y="25353"/>
                    <a:pt x="66419" y="22058"/>
                  </a:cubicBezTo>
                  <a:close/>
                  <a:moveTo>
                    <a:pt x="42074" y="37975"/>
                  </a:moveTo>
                  <a:lnTo>
                    <a:pt x="42074" y="37975"/>
                  </a:lnTo>
                  <a:cubicBezTo>
                    <a:pt x="41364" y="38645"/>
                    <a:pt x="40655" y="39315"/>
                    <a:pt x="39948" y="39984"/>
                  </a:cubicBezTo>
                  <a:cubicBezTo>
                    <a:pt x="25247" y="54654"/>
                    <a:pt x="16490" y="74242"/>
                    <a:pt x="15365" y="94980"/>
                  </a:cubicBezTo>
                  <a:lnTo>
                    <a:pt x="44438" y="94980"/>
                  </a:lnTo>
                  <a:cubicBezTo>
                    <a:pt x="44736" y="78068"/>
                    <a:pt x="47880" y="61327"/>
                    <a:pt x="53736" y="45458"/>
                  </a:cubicBezTo>
                  <a:cubicBezTo>
                    <a:pt x="49660" y="43271"/>
                    <a:pt x="45761" y="40769"/>
                    <a:pt x="42074" y="37975"/>
                  </a:cubicBezTo>
                  <a:close/>
                  <a:moveTo>
                    <a:pt x="15365" y="104157"/>
                  </a:moveTo>
                  <a:lnTo>
                    <a:pt x="15365" y="104157"/>
                  </a:lnTo>
                  <a:cubicBezTo>
                    <a:pt x="16483" y="124884"/>
                    <a:pt x="25241" y="144462"/>
                    <a:pt x="39948" y="159110"/>
                  </a:cubicBezTo>
                  <a:lnTo>
                    <a:pt x="42074" y="161120"/>
                  </a:lnTo>
                  <a:cubicBezTo>
                    <a:pt x="45771" y="158364"/>
                    <a:pt x="49669" y="155888"/>
                    <a:pt x="53736" y="153713"/>
                  </a:cubicBezTo>
                  <a:cubicBezTo>
                    <a:pt x="47887" y="137831"/>
                    <a:pt x="44744" y="121079"/>
                    <a:pt x="44438" y="104157"/>
                  </a:cubicBezTo>
                  <a:close/>
                  <a:moveTo>
                    <a:pt x="49242" y="167187"/>
                  </a:moveTo>
                  <a:lnTo>
                    <a:pt x="49242" y="167187"/>
                  </a:lnTo>
                  <a:cubicBezTo>
                    <a:pt x="54561" y="171132"/>
                    <a:pt x="60327" y="174437"/>
                    <a:pt x="66419" y="177034"/>
                  </a:cubicBezTo>
                  <a:cubicBezTo>
                    <a:pt x="63961" y="173760"/>
                    <a:pt x="61724" y="170326"/>
                    <a:pt x="59723" y="166755"/>
                  </a:cubicBezTo>
                  <a:cubicBezTo>
                    <a:pt x="58936" y="165259"/>
                    <a:pt x="58145" y="163721"/>
                    <a:pt x="57358" y="162104"/>
                  </a:cubicBezTo>
                  <a:cubicBezTo>
                    <a:pt x="54603" y="163681"/>
                    <a:pt x="51843" y="165376"/>
                    <a:pt x="49242" y="167187"/>
                  </a:cubicBezTo>
                  <a:close/>
                  <a:moveTo>
                    <a:pt x="104080" y="183693"/>
                  </a:moveTo>
                  <a:lnTo>
                    <a:pt x="104080" y="183693"/>
                  </a:lnTo>
                  <a:cubicBezTo>
                    <a:pt x="107195" y="183516"/>
                    <a:pt x="110299" y="183174"/>
                    <a:pt x="113378" y="182670"/>
                  </a:cubicBezTo>
                  <a:cubicBezTo>
                    <a:pt x="120950" y="177501"/>
                    <a:pt x="127099" y="170511"/>
                    <a:pt x="131260" y="162342"/>
                  </a:cubicBezTo>
                  <a:cubicBezTo>
                    <a:pt x="131970" y="160962"/>
                    <a:pt x="132680" y="159580"/>
                    <a:pt x="133390" y="158126"/>
                  </a:cubicBezTo>
                  <a:cubicBezTo>
                    <a:pt x="132285" y="157650"/>
                    <a:pt x="131104" y="157183"/>
                    <a:pt x="129921" y="156787"/>
                  </a:cubicBezTo>
                  <a:cubicBezTo>
                    <a:pt x="121636" y="153674"/>
                    <a:pt x="112919" y="151867"/>
                    <a:pt x="104079" y="151430"/>
                  </a:cubicBezTo>
                  <a:lnTo>
                    <a:pt x="104080" y="183693"/>
                  </a:lnTo>
                  <a:close/>
                  <a:moveTo>
                    <a:pt x="132600" y="177034"/>
                  </a:moveTo>
                  <a:lnTo>
                    <a:pt x="132600" y="177034"/>
                  </a:lnTo>
                  <a:cubicBezTo>
                    <a:pt x="138677" y="174456"/>
                    <a:pt x="144419" y="171149"/>
                    <a:pt x="149700" y="167187"/>
                  </a:cubicBezTo>
                  <a:cubicBezTo>
                    <a:pt x="147097" y="165335"/>
                    <a:pt x="144419" y="163681"/>
                    <a:pt x="141663" y="162104"/>
                  </a:cubicBezTo>
                  <a:cubicBezTo>
                    <a:pt x="140873" y="163723"/>
                    <a:pt x="140086" y="165259"/>
                    <a:pt x="139300" y="166755"/>
                  </a:cubicBezTo>
                  <a:cubicBezTo>
                    <a:pt x="137295" y="170325"/>
                    <a:pt x="135057" y="173758"/>
                    <a:pt x="132600" y="177034"/>
                  </a:cubicBezTo>
                  <a:close/>
                  <a:moveTo>
                    <a:pt x="156948" y="161120"/>
                  </a:moveTo>
                  <a:lnTo>
                    <a:pt x="156948" y="161120"/>
                  </a:lnTo>
                  <a:lnTo>
                    <a:pt x="159074" y="159110"/>
                  </a:lnTo>
                  <a:cubicBezTo>
                    <a:pt x="173752" y="144442"/>
                    <a:pt x="182505" y="124876"/>
                    <a:pt x="183657" y="104157"/>
                  </a:cubicBezTo>
                  <a:lnTo>
                    <a:pt x="154582" y="104157"/>
                  </a:lnTo>
                  <a:cubicBezTo>
                    <a:pt x="154274" y="121079"/>
                    <a:pt x="151132" y="137830"/>
                    <a:pt x="145285" y="153714"/>
                  </a:cubicBezTo>
                  <a:cubicBezTo>
                    <a:pt x="149350" y="155890"/>
                    <a:pt x="153248" y="158365"/>
                    <a:pt x="156946" y="161120"/>
                  </a:cubicBezTo>
                  <a:close/>
                  <a:moveTo>
                    <a:pt x="137012" y="49440"/>
                  </a:moveTo>
                  <a:lnTo>
                    <a:pt x="137012" y="49440"/>
                  </a:lnTo>
                  <a:cubicBezTo>
                    <a:pt x="135754" y="49952"/>
                    <a:pt x="134491" y="50461"/>
                    <a:pt x="133152" y="50937"/>
                  </a:cubicBezTo>
                  <a:cubicBezTo>
                    <a:pt x="123826" y="54408"/>
                    <a:pt x="114019" y="56413"/>
                    <a:pt x="104080" y="56882"/>
                  </a:cubicBezTo>
                  <a:lnTo>
                    <a:pt x="104080" y="94982"/>
                  </a:lnTo>
                  <a:lnTo>
                    <a:pt x="145367" y="94982"/>
                  </a:lnTo>
                  <a:cubicBezTo>
                    <a:pt x="145082" y="79449"/>
                    <a:pt x="142260" y="64066"/>
                    <a:pt x="137013" y="49443"/>
                  </a:cubicBezTo>
                  <a:close/>
                  <a:moveTo>
                    <a:pt x="94942" y="56882"/>
                  </a:moveTo>
                  <a:lnTo>
                    <a:pt x="94942" y="56882"/>
                  </a:lnTo>
                  <a:cubicBezTo>
                    <a:pt x="85001" y="56413"/>
                    <a:pt x="75193" y="54407"/>
                    <a:pt x="65866" y="50937"/>
                  </a:cubicBezTo>
                  <a:cubicBezTo>
                    <a:pt x="64607" y="50461"/>
                    <a:pt x="63268" y="49952"/>
                    <a:pt x="62006" y="49440"/>
                  </a:cubicBezTo>
                  <a:cubicBezTo>
                    <a:pt x="56768" y="64068"/>
                    <a:pt x="53922" y="79445"/>
                    <a:pt x="53578" y="94980"/>
                  </a:cubicBezTo>
                  <a:lnTo>
                    <a:pt x="94942" y="94980"/>
                  </a:lnTo>
                  <a:lnTo>
                    <a:pt x="94942" y="56880"/>
                  </a:lnTo>
                  <a:close/>
                  <a:moveTo>
                    <a:pt x="94942" y="142249"/>
                  </a:moveTo>
                  <a:lnTo>
                    <a:pt x="94942" y="142249"/>
                  </a:lnTo>
                  <a:lnTo>
                    <a:pt x="94942" y="104157"/>
                  </a:lnTo>
                  <a:lnTo>
                    <a:pt x="53578" y="104157"/>
                  </a:lnTo>
                  <a:cubicBezTo>
                    <a:pt x="53923" y="119691"/>
                    <a:pt x="56769" y="135067"/>
                    <a:pt x="62006" y="149696"/>
                  </a:cubicBezTo>
                  <a:cubicBezTo>
                    <a:pt x="63345" y="149184"/>
                    <a:pt x="64607" y="148671"/>
                    <a:pt x="65866" y="148200"/>
                  </a:cubicBezTo>
                  <a:cubicBezTo>
                    <a:pt x="75188" y="144710"/>
                    <a:pt x="84999" y="142702"/>
                    <a:pt x="94943" y="142249"/>
                  </a:cubicBezTo>
                  <a:close/>
                  <a:moveTo>
                    <a:pt x="104080" y="142249"/>
                  </a:moveTo>
                  <a:lnTo>
                    <a:pt x="104080" y="142249"/>
                  </a:lnTo>
                  <a:cubicBezTo>
                    <a:pt x="114022" y="142702"/>
                    <a:pt x="123831" y="144710"/>
                    <a:pt x="133152" y="148199"/>
                  </a:cubicBezTo>
                  <a:cubicBezTo>
                    <a:pt x="134415" y="148671"/>
                    <a:pt x="135754" y="149184"/>
                    <a:pt x="136936" y="149696"/>
                  </a:cubicBezTo>
                  <a:cubicBezTo>
                    <a:pt x="142246" y="135087"/>
                    <a:pt x="145095" y="119698"/>
                    <a:pt x="145366" y="104157"/>
                  </a:cubicBezTo>
                  <a:lnTo>
                    <a:pt x="104080" y="104157"/>
                  </a:lnTo>
                  <a:lnTo>
                    <a:pt x="104080" y="142252"/>
                  </a:lnTo>
                  <a:close/>
                </a:path>
              </a:pathLst>
            </a:custGeom>
            <a:solidFill>
              <a:srgbClr val="C6C6C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</p:grpSp>
      <p:grpSp>
        <p:nvGrpSpPr>
          <p:cNvPr id="68" name="Gruppieren 67"/>
          <p:cNvGrpSpPr/>
          <p:nvPr/>
        </p:nvGrpSpPr>
        <p:grpSpPr>
          <a:xfrm>
            <a:off x="5908805" y="4692240"/>
            <a:ext cx="648000" cy="648000"/>
            <a:chOff x="7785990" y="2489744"/>
            <a:chExt cx="408357" cy="408357"/>
          </a:xfrm>
        </p:grpSpPr>
        <p:sp>
          <p:nvSpPr>
            <p:cNvPr id="24" name="Freeform: Shape 374">
              <a:extLst>
                <a:ext uri="{FF2B5EF4-FFF2-40B4-BE49-F238E27FC236}">
                  <a16:creationId xmlns:a16="http://schemas.microsoft.com/office/drawing/2014/main" id="{4940B74F-2D91-4C50-85F6-16E4769F493C}"/>
                </a:ext>
              </a:extLst>
            </p:cNvPr>
            <p:cNvSpPr/>
            <p:nvPr/>
          </p:nvSpPr>
          <p:spPr>
            <a:xfrm>
              <a:off x="7785990" y="2489744"/>
              <a:ext cx="408357" cy="408357"/>
            </a:xfrm>
            <a:custGeom>
              <a:avLst/>
              <a:gdLst>
                <a:gd name="connsiteX0" fmla="*/ 0 w 306268"/>
                <a:gd name="connsiteY0" fmla="*/ 0 h 306268"/>
                <a:gd name="connsiteX1" fmla="*/ 306269 w 306268"/>
                <a:gd name="connsiteY1" fmla="*/ 0 h 306268"/>
                <a:gd name="connsiteX2" fmla="*/ 306269 w 306268"/>
                <a:gd name="connsiteY2" fmla="*/ 306269 h 306268"/>
                <a:gd name="connsiteX3" fmla="*/ 0 w 306268"/>
                <a:gd name="connsiteY3" fmla="*/ 306269 h 3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268" h="306268">
                  <a:moveTo>
                    <a:pt x="0" y="0"/>
                  </a:moveTo>
                  <a:lnTo>
                    <a:pt x="306269" y="0"/>
                  </a:lnTo>
                  <a:lnTo>
                    <a:pt x="306269" y="306269"/>
                  </a:lnTo>
                  <a:lnTo>
                    <a:pt x="0" y="306269"/>
                  </a:lnTo>
                  <a:close/>
                </a:path>
              </a:pathLst>
            </a:custGeom>
            <a:noFill/>
            <a:ln w="19050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25" name="Freeform: Shape 375">
              <a:extLst>
                <a:ext uri="{FF2B5EF4-FFF2-40B4-BE49-F238E27FC236}">
                  <a16:creationId xmlns:a16="http://schemas.microsoft.com/office/drawing/2014/main" id="{14D0997A-9257-4B14-8C8F-0FC6567A3872}"/>
                </a:ext>
              </a:extLst>
            </p:cNvPr>
            <p:cNvSpPr/>
            <p:nvPr/>
          </p:nvSpPr>
          <p:spPr>
            <a:xfrm>
              <a:off x="7863774" y="2598041"/>
              <a:ext cx="252787" cy="191757"/>
            </a:xfrm>
            <a:custGeom>
              <a:avLst/>
              <a:gdLst>
                <a:gd name="connsiteX0" fmla="*/ 8569 w 189590"/>
                <a:gd name="connsiteY0" fmla="*/ 13392 h 143818"/>
                <a:gd name="connsiteX1" fmla="*/ 36082 w 189590"/>
                <a:gd name="connsiteY1" fmla="*/ 7017 h 143818"/>
                <a:gd name="connsiteX2" fmla="*/ 94783 w 189590"/>
                <a:gd name="connsiteY2" fmla="*/ 11896 h 143818"/>
                <a:gd name="connsiteX3" fmla="*/ 153524 w 189590"/>
                <a:gd name="connsiteY3" fmla="*/ 7017 h 143818"/>
                <a:gd name="connsiteX4" fmla="*/ 181659 w 189590"/>
                <a:gd name="connsiteY4" fmla="*/ 13320 h 143818"/>
                <a:gd name="connsiteX5" fmla="*/ 189533 w 189590"/>
                <a:gd name="connsiteY5" fmla="*/ 19922 h 143818"/>
                <a:gd name="connsiteX6" fmla="*/ 189552 w 189590"/>
                <a:gd name="connsiteY6" fmla="*/ 20559 h 143818"/>
                <a:gd name="connsiteX7" fmla="*/ 189590 w 189590"/>
                <a:gd name="connsiteY7" fmla="*/ 20559 h 143818"/>
                <a:gd name="connsiteX8" fmla="*/ 189590 w 189590"/>
                <a:gd name="connsiteY8" fmla="*/ 136383 h 143818"/>
                <a:gd name="connsiteX9" fmla="*/ 182368 w 189590"/>
                <a:gd name="connsiteY9" fmla="*/ 143658 h 143818"/>
                <a:gd name="connsiteX10" fmla="*/ 182366 w 189590"/>
                <a:gd name="connsiteY10" fmla="*/ 143658 h 143818"/>
                <a:gd name="connsiteX11" fmla="*/ 182240 w 189590"/>
                <a:gd name="connsiteY11" fmla="*/ 143658 h 143818"/>
                <a:gd name="connsiteX12" fmla="*/ 147544 w 189590"/>
                <a:gd name="connsiteY12" fmla="*/ 136122 h 143818"/>
                <a:gd name="connsiteX13" fmla="*/ 98817 w 189590"/>
                <a:gd name="connsiteY13" fmla="*/ 142460 h 143818"/>
                <a:gd name="connsiteX14" fmla="*/ 90790 w 189590"/>
                <a:gd name="connsiteY14" fmla="*/ 142460 h 143818"/>
                <a:gd name="connsiteX15" fmla="*/ 42066 w 189590"/>
                <a:gd name="connsiteY15" fmla="*/ 136122 h 143818"/>
                <a:gd name="connsiteX16" fmla="*/ 6676 w 189590"/>
                <a:gd name="connsiteY16" fmla="*/ 143624 h 143818"/>
                <a:gd name="connsiteX17" fmla="*/ 34 w 189590"/>
                <a:gd name="connsiteY17" fmla="*/ 136385 h 143818"/>
                <a:gd name="connsiteX18" fmla="*/ 0 w 189590"/>
                <a:gd name="connsiteY18" fmla="*/ 136385 h 143818"/>
                <a:gd name="connsiteX19" fmla="*/ 0 w 189590"/>
                <a:gd name="connsiteY19" fmla="*/ 20561 h 143818"/>
                <a:gd name="connsiteX20" fmla="*/ 7294 w 189590"/>
                <a:gd name="connsiteY20" fmla="*/ 13245 h 143818"/>
                <a:gd name="connsiteX21" fmla="*/ 8570 w 189590"/>
                <a:gd name="connsiteY21" fmla="*/ 13395 h 143818"/>
                <a:gd name="connsiteX22" fmla="*/ 166303 w 189590"/>
                <a:gd name="connsiteY22" fmla="*/ 62457 h 143818"/>
                <a:gd name="connsiteX23" fmla="*/ 166303 w 189590"/>
                <a:gd name="connsiteY23" fmla="*/ 62457 h 143818"/>
                <a:gd name="connsiteX24" fmla="*/ 152349 w 189590"/>
                <a:gd name="connsiteY24" fmla="*/ 57130 h 143818"/>
                <a:gd name="connsiteX25" fmla="*/ 110243 w 189590"/>
                <a:gd name="connsiteY25" fmla="*/ 54653 h 143818"/>
                <a:gd name="connsiteX26" fmla="*/ 107821 w 189590"/>
                <a:gd name="connsiteY26" fmla="*/ 60311 h 143818"/>
                <a:gd name="connsiteX27" fmla="*/ 113479 w 189590"/>
                <a:gd name="connsiteY27" fmla="*/ 62734 h 143818"/>
                <a:gd name="connsiteX28" fmla="*/ 113524 w 189590"/>
                <a:gd name="connsiteY28" fmla="*/ 62715 h 143818"/>
                <a:gd name="connsiteX29" fmla="*/ 148726 w 189590"/>
                <a:gd name="connsiteY29" fmla="*/ 65117 h 143818"/>
                <a:gd name="connsiteX30" fmla="*/ 164144 w 189590"/>
                <a:gd name="connsiteY30" fmla="*/ 70927 h 143818"/>
                <a:gd name="connsiteX31" fmla="*/ 169474 w 189590"/>
                <a:gd name="connsiteY31" fmla="*/ 67787 h 143818"/>
                <a:gd name="connsiteX32" fmla="*/ 166333 w 189590"/>
                <a:gd name="connsiteY32" fmla="*/ 62458 h 143818"/>
                <a:gd name="connsiteX33" fmla="*/ 166303 w 189590"/>
                <a:gd name="connsiteY33" fmla="*/ 62450 h 143818"/>
                <a:gd name="connsiteX34" fmla="*/ 166303 w 189590"/>
                <a:gd name="connsiteY34" fmla="*/ 83836 h 143818"/>
                <a:gd name="connsiteX35" fmla="*/ 166303 w 189590"/>
                <a:gd name="connsiteY35" fmla="*/ 83836 h 143818"/>
                <a:gd name="connsiteX36" fmla="*/ 152349 w 189590"/>
                <a:gd name="connsiteY36" fmla="*/ 78548 h 143818"/>
                <a:gd name="connsiteX37" fmla="*/ 110243 w 189590"/>
                <a:gd name="connsiteY37" fmla="*/ 76035 h 143818"/>
                <a:gd name="connsiteX38" fmla="*/ 107906 w 189590"/>
                <a:gd name="connsiteY38" fmla="*/ 81731 h 143818"/>
                <a:gd name="connsiteX39" fmla="*/ 113524 w 189590"/>
                <a:gd name="connsiteY39" fmla="*/ 84101 h 143818"/>
                <a:gd name="connsiteX40" fmla="*/ 148726 w 189590"/>
                <a:gd name="connsiteY40" fmla="*/ 86502 h 143818"/>
                <a:gd name="connsiteX41" fmla="*/ 164145 w 189590"/>
                <a:gd name="connsiteY41" fmla="*/ 92312 h 143818"/>
                <a:gd name="connsiteX42" fmla="*/ 169474 w 189590"/>
                <a:gd name="connsiteY42" fmla="*/ 89172 h 143818"/>
                <a:gd name="connsiteX43" fmla="*/ 166334 w 189590"/>
                <a:gd name="connsiteY43" fmla="*/ 83843 h 143818"/>
                <a:gd name="connsiteX44" fmla="*/ 166303 w 189590"/>
                <a:gd name="connsiteY44" fmla="*/ 83835 h 143818"/>
                <a:gd name="connsiteX45" fmla="*/ 166303 w 189590"/>
                <a:gd name="connsiteY45" fmla="*/ 105253 h 143818"/>
                <a:gd name="connsiteX46" fmla="*/ 166303 w 189590"/>
                <a:gd name="connsiteY46" fmla="*/ 105253 h 143818"/>
                <a:gd name="connsiteX47" fmla="*/ 152349 w 189590"/>
                <a:gd name="connsiteY47" fmla="*/ 99929 h 143818"/>
                <a:gd name="connsiteX48" fmla="*/ 110243 w 189590"/>
                <a:gd name="connsiteY48" fmla="*/ 97412 h 143818"/>
                <a:gd name="connsiteX49" fmla="*/ 107862 w 189590"/>
                <a:gd name="connsiteY49" fmla="*/ 103117 h 143818"/>
                <a:gd name="connsiteX50" fmla="*/ 113470 w 189590"/>
                <a:gd name="connsiteY50" fmla="*/ 105498 h 143818"/>
                <a:gd name="connsiteX51" fmla="*/ 113524 w 189590"/>
                <a:gd name="connsiteY51" fmla="*/ 105475 h 143818"/>
                <a:gd name="connsiteX52" fmla="*/ 148726 w 189590"/>
                <a:gd name="connsiteY52" fmla="*/ 107876 h 143818"/>
                <a:gd name="connsiteX53" fmla="*/ 164145 w 189590"/>
                <a:gd name="connsiteY53" fmla="*/ 113730 h 143818"/>
                <a:gd name="connsiteX54" fmla="*/ 169472 w 189590"/>
                <a:gd name="connsiteY54" fmla="*/ 110538 h 143818"/>
                <a:gd name="connsiteX55" fmla="*/ 166341 w 189590"/>
                <a:gd name="connsiteY55" fmla="*/ 105259 h 143818"/>
                <a:gd name="connsiteX56" fmla="*/ 166303 w 189590"/>
                <a:gd name="connsiteY56" fmla="*/ 105249 h 143818"/>
                <a:gd name="connsiteX57" fmla="*/ 166303 w 189590"/>
                <a:gd name="connsiteY57" fmla="*/ 41074 h 143818"/>
                <a:gd name="connsiteX58" fmla="*/ 166303 w 189590"/>
                <a:gd name="connsiteY58" fmla="*/ 41074 h 143818"/>
                <a:gd name="connsiteX59" fmla="*/ 152349 w 189590"/>
                <a:gd name="connsiteY59" fmla="*/ 35750 h 143818"/>
                <a:gd name="connsiteX60" fmla="*/ 110243 w 189590"/>
                <a:gd name="connsiteY60" fmla="*/ 33273 h 143818"/>
                <a:gd name="connsiteX61" fmla="*/ 107906 w 189590"/>
                <a:gd name="connsiteY61" fmla="*/ 38970 h 143818"/>
                <a:gd name="connsiteX62" fmla="*/ 113524 w 189590"/>
                <a:gd name="connsiteY62" fmla="*/ 41339 h 143818"/>
                <a:gd name="connsiteX63" fmla="*/ 148726 w 189590"/>
                <a:gd name="connsiteY63" fmla="*/ 43740 h 143818"/>
                <a:gd name="connsiteX64" fmla="*/ 164145 w 189590"/>
                <a:gd name="connsiteY64" fmla="*/ 49555 h 143818"/>
                <a:gd name="connsiteX65" fmla="*/ 169506 w 189590"/>
                <a:gd name="connsiteY65" fmla="*/ 46463 h 143818"/>
                <a:gd name="connsiteX66" fmla="*/ 166415 w 189590"/>
                <a:gd name="connsiteY66" fmla="*/ 41102 h 143818"/>
                <a:gd name="connsiteX67" fmla="*/ 166362 w 189590"/>
                <a:gd name="connsiteY67" fmla="*/ 41089 h 143818"/>
                <a:gd name="connsiteX68" fmla="*/ 166303 w 189590"/>
                <a:gd name="connsiteY68" fmla="*/ 41073 h 143818"/>
                <a:gd name="connsiteX69" fmla="*/ 25435 w 189590"/>
                <a:gd name="connsiteY69" fmla="*/ 70934 h 143818"/>
                <a:gd name="connsiteX70" fmla="*/ 25435 w 189590"/>
                <a:gd name="connsiteY70" fmla="*/ 70934 h 143818"/>
                <a:gd name="connsiteX71" fmla="*/ 40865 w 189590"/>
                <a:gd name="connsiteY71" fmla="*/ 65124 h 143818"/>
                <a:gd name="connsiteX72" fmla="*/ 76068 w 189590"/>
                <a:gd name="connsiteY72" fmla="*/ 62723 h 143818"/>
                <a:gd name="connsiteX73" fmla="*/ 81714 w 189590"/>
                <a:gd name="connsiteY73" fmla="*/ 60257 h 143818"/>
                <a:gd name="connsiteX74" fmla="*/ 79371 w 189590"/>
                <a:gd name="connsiteY74" fmla="*/ 54661 h 143818"/>
                <a:gd name="connsiteX75" fmla="*/ 37248 w 189590"/>
                <a:gd name="connsiteY75" fmla="*/ 57137 h 143818"/>
                <a:gd name="connsiteX76" fmla="*/ 23274 w 189590"/>
                <a:gd name="connsiteY76" fmla="*/ 62465 h 143818"/>
                <a:gd name="connsiteX77" fmla="*/ 20095 w 189590"/>
                <a:gd name="connsiteY77" fmla="*/ 67771 h 143818"/>
                <a:gd name="connsiteX78" fmla="*/ 25401 w 189590"/>
                <a:gd name="connsiteY78" fmla="*/ 70950 h 143818"/>
                <a:gd name="connsiteX79" fmla="*/ 25432 w 189590"/>
                <a:gd name="connsiteY79" fmla="*/ 70942 h 143818"/>
                <a:gd name="connsiteX80" fmla="*/ 25435 w 189590"/>
                <a:gd name="connsiteY80" fmla="*/ 92313 h 143818"/>
                <a:gd name="connsiteX81" fmla="*/ 25435 w 189590"/>
                <a:gd name="connsiteY81" fmla="*/ 92313 h 143818"/>
                <a:gd name="connsiteX82" fmla="*/ 40865 w 189590"/>
                <a:gd name="connsiteY82" fmla="*/ 86503 h 143818"/>
                <a:gd name="connsiteX83" fmla="*/ 76068 w 189590"/>
                <a:gd name="connsiteY83" fmla="*/ 84102 h 143818"/>
                <a:gd name="connsiteX84" fmla="*/ 81711 w 189590"/>
                <a:gd name="connsiteY84" fmla="*/ 81622 h 143818"/>
                <a:gd name="connsiteX85" fmla="*/ 79371 w 189590"/>
                <a:gd name="connsiteY85" fmla="*/ 76036 h 143818"/>
                <a:gd name="connsiteX86" fmla="*/ 37248 w 189590"/>
                <a:gd name="connsiteY86" fmla="*/ 78548 h 143818"/>
                <a:gd name="connsiteX87" fmla="*/ 23274 w 189590"/>
                <a:gd name="connsiteY87" fmla="*/ 83837 h 143818"/>
                <a:gd name="connsiteX88" fmla="*/ 20095 w 189590"/>
                <a:gd name="connsiteY88" fmla="*/ 89143 h 143818"/>
                <a:gd name="connsiteX89" fmla="*/ 25401 w 189590"/>
                <a:gd name="connsiteY89" fmla="*/ 92322 h 143818"/>
                <a:gd name="connsiteX90" fmla="*/ 25432 w 189590"/>
                <a:gd name="connsiteY90" fmla="*/ 92314 h 143818"/>
                <a:gd name="connsiteX91" fmla="*/ 25473 w 189590"/>
                <a:gd name="connsiteY91" fmla="*/ 113735 h 143818"/>
                <a:gd name="connsiteX92" fmla="*/ 25473 w 189590"/>
                <a:gd name="connsiteY92" fmla="*/ 113735 h 143818"/>
                <a:gd name="connsiteX93" fmla="*/ 40867 w 189590"/>
                <a:gd name="connsiteY93" fmla="*/ 107881 h 143818"/>
                <a:gd name="connsiteX94" fmla="*/ 76110 w 189590"/>
                <a:gd name="connsiteY94" fmla="*/ 105481 h 143818"/>
                <a:gd name="connsiteX95" fmla="*/ 81739 w 189590"/>
                <a:gd name="connsiteY95" fmla="*/ 103160 h 143818"/>
                <a:gd name="connsiteX96" fmla="*/ 81739 w 189590"/>
                <a:gd name="connsiteY96" fmla="*/ 103160 h 143818"/>
                <a:gd name="connsiteX97" fmla="*/ 81756 w 189590"/>
                <a:gd name="connsiteY97" fmla="*/ 103118 h 143818"/>
                <a:gd name="connsiteX98" fmla="*/ 79375 w 189590"/>
                <a:gd name="connsiteY98" fmla="*/ 97415 h 143818"/>
                <a:gd name="connsiteX99" fmla="*/ 37251 w 189590"/>
                <a:gd name="connsiteY99" fmla="*/ 99931 h 143818"/>
                <a:gd name="connsiteX100" fmla="*/ 23277 w 189590"/>
                <a:gd name="connsiteY100" fmla="*/ 105256 h 143818"/>
                <a:gd name="connsiteX101" fmla="*/ 20128 w 189590"/>
                <a:gd name="connsiteY101" fmla="*/ 110544 h 143818"/>
                <a:gd name="connsiteX102" fmla="*/ 25474 w 189590"/>
                <a:gd name="connsiteY102" fmla="*/ 113736 h 143818"/>
                <a:gd name="connsiteX103" fmla="*/ 25473 w 189590"/>
                <a:gd name="connsiteY103" fmla="*/ 49556 h 143818"/>
                <a:gd name="connsiteX104" fmla="*/ 25473 w 189590"/>
                <a:gd name="connsiteY104" fmla="*/ 49556 h 143818"/>
                <a:gd name="connsiteX105" fmla="*/ 40867 w 189590"/>
                <a:gd name="connsiteY105" fmla="*/ 43741 h 143818"/>
                <a:gd name="connsiteX106" fmla="*/ 76110 w 189590"/>
                <a:gd name="connsiteY106" fmla="*/ 41340 h 143818"/>
                <a:gd name="connsiteX107" fmla="*/ 81751 w 189590"/>
                <a:gd name="connsiteY107" fmla="*/ 38883 h 143818"/>
                <a:gd name="connsiteX108" fmla="*/ 79375 w 189590"/>
                <a:gd name="connsiteY108" fmla="*/ 33274 h 143818"/>
                <a:gd name="connsiteX109" fmla="*/ 37251 w 189590"/>
                <a:gd name="connsiteY109" fmla="*/ 35751 h 143818"/>
                <a:gd name="connsiteX110" fmla="*/ 23278 w 189590"/>
                <a:gd name="connsiteY110" fmla="*/ 41074 h 143818"/>
                <a:gd name="connsiteX111" fmla="*/ 19943 w 189590"/>
                <a:gd name="connsiteY111" fmla="*/ 46297 h 143818"/>
                <a:gd name="connsiteX112" fmla="*/ 25165 w 189590"/>
                <a:gd name="connsiteY112" fmla="*/ 49632 h 143818"/>
                <a:gd name="connsiteX113" fmla="*/ 25474 w 189590"/>
                <a:gd name="connsiteY113" fmla="*/ 49552 h 143818"/>
                <a:gd name="connsiteX114" fmla="*/ 99177 w 189590"/>
                <a:gd name="connsiteY114" fmla="*/ 26373 h 143818"/>
                <a:gd name="connsiteX115" fmla="*/ 99177 w 189590"/>
                <a:gd name="connsiteY115" fmla="*/ 26373 h 143818"/>
                <a:gd name="connsiteX116" fmla="*/ 99177 w 189590"/>
                <a:gd name="connsiteY116" fmla="*/ 125174 h 143818"/>
                <a:gd name="connsiteX117" fmla="*/ 153528 w 189590"/>
                <a:gd name="connsiteY117" fmla="*/ 122851 h 143818"/>
                <a:gd name="connsiteX118" fmla="*/ 175022 w 189590"/>
                <a:gd name="connsiteY118" fmla="*/ 129262 h 143818"/>
                <a:gd name="connsiteX119" fmla="*/ 175022 w 189590"/>
                <a:gd name="connsiteY119" fmla="*/ 27987 h 143818"/>
                <a:gd name="connsiteX120" fmla="*/ 147547 w 189590"/>
                <a:gd name="connsiteY120" fmla="*/ 20298 h 143818"/>
                <a:gd name="connsiteX121" fmla="*/ 99177 w 189590"/>
                <a:gd name="connsiteY121" fmla="*/ 26374 h 143818"/>
                <a:gd name="connsiteX122" fmla="*/ 90439 w 189590"/>
                <a:gd name="connsiteY122" fmla="*/ 125174 h 143818"/>
                <a:gd name="connsiteX123" fmla="*/ 90439 w 189590"/>
                <a:gd name="connsiteY123" fmla="*/ 125174 h 143818"/>
                <a:gd name="connsiteX124" fmla="*/ 90439 w 189590"/>
                <a:gd name="connsiteY124" fmla="*/ 26373 h 143818"/>
                <a:gd name="connsiteX125" fmla="*/ 42070 w 189590"/>
                <a:gd name="connsiteY125" fmla="*/ 20297 h 143818"/>
                <a:gd name="connsiteX126" fmla="*/ 14576 w 189590"/>
                <a:gd name="connsiteY126" fmla="*/ 27985 h 143818"/>
                <a:gd name="connsiteX127" fmla="*/ 14576 w 189590"/>
                <a:gd name="connsiteY127" fmla="*/ 129264 h 143818"/>
                <a:gd name="connsiteX128" fmla="*/ 36086 w 189590"/>
                <a:gd name="connsiteY128" fmla="*/ 122853 h 143818"/>
                <a:gd name="connsiteX129" fmla="*/ 90439 w 189590"/>
                <a:gd name="connsiteY129" fmla="*/ 125176 h 14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189590" h="143818">
                  <a:moveTo>
                    <a:pt x="8569" y="13392"/>
                  </a:moveTo>
                  <a:cubicBezTo>
                    <a:pt x="18150" y="13819"/>
                    <a:pt x="27665" y="11615"/>
                    <a:pt x="36082" y="7017"/>
                  </a:cubicBezTo>
                  <a:cubicBezTo>
                    <a:pt x="54721" y="-3891"/>
                    <a:pt x="78200" y="-1940"/>
                    <a:pt x="94783" y="11896"/>
                  </a:cubicBezTo>
                  <a:cubicBezTo>
                    <a:pt x="111381" y="-1941"/>
                    <a:pt x="134871" y="-3892"/>
                    <a:pt x="153524" y="7017"/>
                  </a:cubicBezTo>
                  <a:cubicBezTo>
                    <a:pt x="162119" y="11731"/>
                    <a:pt x="171874" y="13916"/>
                    <a:pt x="181659" y="13320"/>
                  </a:cubicBezTo>
                  <a:cubicBezTo>
                    <a:pt x="185654" y="12977"/>
                    <a:pt x="189174" y="15929"/>
                    <a:pt x="189533" y="19922"/>
                  </a:cubicBezTo>
                  <a:lnTo>
                    <a:pt x="189552" y="20559"/>
                  </a:lnTo>
                  <a:lnTo>
                    <a:pt x="189590" y="20559"/>
                  </a:lnTo>
                  <a:lnTo>
                    <a:pt x="189590" y="136383"/>
                  </a:lnTo>
                  <a:cubicBezTo>
                    <a:pt x="189605" y="140387"/>
                    <a:pt x="186371" y="143643"/>
                    <a:pt x="182368" y="143658"/>
                  </a:cubicBezTo>
                  <a:cubicBezTo>
                    <a:pt x="182367" y="143658"/>
                    <a:pt x="182366" y="143658"/>
                    <a:pt x="182366" y="143658"/>
                  </a:cubicBezTo>
                  <a:lnTo>
                    <a:pt x="182240" y="143658"/>
                  </a:lnTo>
                  <a:cubicBezTo>
                    <a:pt x="170194" y="144496"/>
                    <a:pt x="158158" y="141882"/>
                    <a:pt x="147544" y="136122"/>
                  </a:cubicBezTo>
                  <a:cubicBezTo>
                    <a:pt x="135314" y="130607"/>
                    <a:pt x="124249" y="125578"/>
                    <a:pt x="98817" y="142460"/>
                  </a:cubicBezTo>
                  <a:cubicBezTo>
                    <a:pt x="96384" y="144073"/>
                    <a:pt x="93223" y="144073"/>
                    <a:pt x="90790" y="142460"/>
                  </a:cubicBezTo>
                  <a:cubicBezTo>
                    <a:pt x="65358" y="125578"/>
                    <a:pt x="54293" y="130607"/>
                    <a:pt x="42066" y="136122"/>
                  </a:cubicBezTo>
                  <a:cubicBezTo>
                    <a:pt x="31238" y="141978"/>
                    <a:pt x="18949" y="144583"/>
                    <a:pt x="6676" y="143624"/>
                  </a:cubicBezTo>
                  <a:cubicBezTo>
                    <a:pt x="2920" y="143300"/>
                    <a:pt x="35" y="140156"/>
                    <a:pt x="34" y="136385"/>
                  </a:cubicBezTo>
                  <a:lnTo>
                    <a:pt x="0" y="136385"/>
                  </a:lnTo>
                  <a:lnTo>
                    <a:pt x="0" y="20561"/>
                  </a:lnTo>
                  <a:cubicBezTo>
                    <a:pt x="10" y="16533"/>
                    <a:pt x="3266" y="13267"/>
                    <a:pt x="7294" y="13245"/>
                  </a:cubicBezTo>
                  <a:cubicBezTo>
                    <a:pt x="7723" y="13259"/>
                    <a:pt x="8150" y="13309"/>
                    <a:pt x="8570" y="13395"/>
                  </a:cubicBezTo>
                  <a:close/>
                  <a:moveTo>
                    <a:pt x="166303" y="62457"/>
                  </a:moveTo>
                  <a:lnTo>
                    <a:pt x="166303" y="62457"/>
                  </a:lnTo>
                  <a:cubicBezTo>
                    <a:pt x="161496" y="61120"/>
                    <a:pt x="156824" y="59336"/>
                    <a:pt x="152349" y="57130"/>
                  </a:cubicBezTo>
                  <a:cubicBezTo>
                    <a:pt x="139562" y="49472"/>
                    <a:pt x="123840" y="48547"/>
                    <a:pt x="110243" y="54653"/>
                  </a:cubicBezTo>
                  <a:cubicBezTo>
                    <a:pt x="108012" y="55547"/>
                    <a:pt x="106927" y="58080"/>
                    <a:pt x="107821" y="60311"/>
                  </a:cubicBezTo>
                  <a:cubicBezTo>
                    <a:pt x="108714" y="62542"/>
                    <a:pt x="111247" y="63627"/>
                    <a:pt x="113479" y="62734"/>
                  </a:cubicBezTo>
                  <a:cubicBezTo>
                    <a:pt x="113494" y="62728"/>
                    <a:pt x="113509" y="62722"/>
                    <a:pt x="113524" y="62715"/>
                  </a:cubicBezTo>
                  <a:cubicBezTo>
                    <a:pt x="124951" y="57752"/>
                    <a:pt x="138078" y="58647"/>
                    <a:pt x="148726" y="65117"/>
                  </a:cubicBezTo>
                  <a:cubicBezTo>
                    <a:pt x="153681" y="67512"/>
                    <a:pt x="158841" y="69457"/>
                    <a:pt x="164144" y="70927"/>
                  </a:cubicBezTo>
                  <a:cubicBezTo>
                    <a:pt x="166483" y="71531"/>
                    <a:pt x="168869" y="70126"/>
                    <a:pt x="169474" y="67787"/>
                  </a:cubicBezTo>
                  <a:cubicBezTo>
                    <a:pt x="170078" y="65448"/>
                    <a:pt x="168672" y="63062"/>
                    <a:pt x="166333" y="62458"/>
                  </a:cubicBezTo>
                  <a:cubicBezTo>
                    <a:pt x="166323" y="62455"/>
                    <a:pt x="166313" y="62452"/>
                    <a:pt x="166303" y="62450"/>
                  </a:cubicBezTo>
                  <a:close/>
                  <a:moveTo>
                    <a:pt x="166303" y="83836"/>
                  </a:moveTo>
                  <a:lnTo>
                    <a:pt x="166303" y="83836"/>
                  </a:lnTo>
                  <a:cubicBezTo>
                    <a:pt x="161508" y="82478"/>
                    <a:pt x="156839" y="80709"/>
                    <a:pt x="152349" y="78548"/>
                  </a:cubicBezTo>
                  <a:cubicBezTo>
                    <a:pt x="139574" y="70858"/>
                    <a:pt x="123842" y="69919"/>
                    <a:pt x="110243" y="76035"/>
                  </a:cubicBezTo>
                  <a:cubicBezTo>
                    <a:pt x="108025" y="76963"/>
                    <a:pt x="106978" y="79513"/>
                    <a:pt x="107906" y="81731"/>
                  </a:cubicBezTo>
                  <a:cubicBezTo>
                    <a:pt x="108821" y="83919"/>
                    <a:pt x="111318" y="84972"/>
                    <a:pt x="113524" y="84101"/>
                  </a:cubicBezTo>
                  <a:cubicBezTo>
                    <a:pt x="124951" y="79134"/>
                    <a:pt x="138079" y="80030"/>
                    <a:pt x="148726" y="86502"/>
                  </a:cubicBezTo>
                  <a:cubicBezTo>
                    <a:pt x="153681" y="88897"/>
                    <a:pt x="158841" y="90841"/>
                    <a:pt x="164145" y="92312"/>
                  </a:cubicBezTo>
                  <a:cubicBezTo>
                    <a:pt x="166483" y="92917"/>
                    <a:pt x="168869" y="91511"/>
                    <a:pt x="169474" y="89172"/>
                  </a:cubicBezTo>
                  <a:cubicBezTo>
                    <a:pt x="170079" y="86833"/>
                    <a:pt x="168673" y="84447"/>
                    <a:pt x="166334" y="83843"/>
                  </a:cubicBezTo>
                  <a:cubicBezTo>
                    <a:pt x="166324" y="83840"/>
                    <a:pt x="166313" y="83838"/>
                    <a:pt x="166303" y="83835"/>
                  </a:cubicBezTo>
                  <a:close/>
                  <a:moveTo>
                    <a:pt x="166303" y="105253"/>
                  </a:moveTo>
                  <a:lnTo>
                    <a:pt x="166303" y="105253"/>
                  </a:lnTo>
                  <a:cubicBezTo>
                    <a:pt x="161506" y="103884"/>
                    <a:pt x="156838" y="102103"/>
                    <a:pt x="152349" y="99929"/>
                  </a:cubicBezTo>
                  <a:cubicBezTo>
                    <a:pt x="139569" y="92256"/>
                    <a:pt x="123846" y="91316"/>
                    <a:pt x="110243" y="97412"/>
                  </a:cubicBezTo>
                  <a:cubicBezTo>
                    <a:pt x="108012" y="98331"/>
                    <a:pt x="106946" y="100884"/>
                    <a:pt x="107862" y="103117"/>
                  </a:cubicBezTo>
                  <a:cubicBezTo>
                    <a:pt x="108754" y="105322"/>
                    <a:pt x="111264" y="106388"/>
                    <a:pt x="113470" y="105498"/>
                  </a:cubicBezTo>
                  <a:lnTo>
                    <a:pt x="113524" y="105475"/>
                  </a:lnTo>
                  <a:cubicBezTo>
                    <a:pt x="124952" y="100511"/>
                    <a:pt x="138078" y="101407"/>
                    <a:pt x="148726" y="107876"/>
                  </a:cubicBezTo>
                  <a:cubicBezTo>
                    <a:pt x="153686" y="110271"/>
                    <a:pt x="158845" y="112229"/>
                    <a:pt x="164145" y="113730"/>
                  </a:cubicBezTo>
                  <a:cubicBezTo>
                    <a:pt x="166494" y="114302"/>
                    <a:pt x="168868" y="112880"/>
                    <a:pt x="169472" y="110538"/>
                  </a:cubicBezTo>
                  <a:cubicBezTo>
                    <a:pt x="170065" y="108216"/>
                    <a:pt x="168664" y="105852"/>
                    <a:pt x="166341" y="105259"/>
                  </a:cubicBezTo>
                  <a:lnTo>
                    <a:pt x="166303" y="105249"/>
                  </a:lnTo>
                  <a:close/>
                  <a:moveTo>
                    <a:pt x="166303" y="41074"/>
                  </a:moveTo>
                  <a:lnTo>
                    <a:pt x="166303" y="41074"/>
                  </a:lnTo>
                  <a:cubicBezTo>
                    <a:pt x="161506" y="39705"/>
                    <a:pt x="156838" y="37924"/>
                    <a:pt x="152349" y="35750"/>
                  </a:cubicBezTo>
                  <a:cubicBezTo>
                    <a:pt x="139562" y="28091"/>
                    <a:pt x="123839" y="27166"/>
                    <a:pt x="110243" y="33273"/>
                  </a:cubicBezTo>
                  <a:cubicBezTo>
                    <a:pt x="108025" y="34201"/>
                    <a:pt x="106978" y="36752"/>
                    <a:pt x="107906" y="38970"/>
                  </a:cubicBezTo>
                  <a:cubicBezTo>
                    <a:pt x="108821" y="41158"/>
                    <a:pt x="111318" y="42211"/>
                    <a:pt x="113524" y="41339"/>
                  </a:cubicBezTo>
                  <a:cubicBezTo>
                    <a:pt x="124948" y="36354"/>
                    <a:pt x="138085" y="37249"/>
                    <a:pt x="148726" y="43740"/>
                  </a:cubicBezTo>
                  <a:cubicBezTo>
                    <a:pt x="153688" y="46120"/>
                    <a:pt x="158847" y="48066"/>
                    <a:pt x="164145" y="49555"/>
                  </a:cubicBezTo>
                  <a:cubicBezTo>
                    <a:pt x="166479" y="50181"/>
                    <a:pt x="168879" y="48797"/>
                    <a:pt x="169506" y="46463"/>
                  </a:cubicBezTo>
                  <a:cubicBezTo>
                    <a:pt x="170132" y="44129"/>
                    <a:pt x="168748" y="41729"/>
                    <a:pt x="166415" y="41102"/>
                  </a:cubicBezTo>
                  <a:cubicBezTo>
                    <a:pt x="166397" y="41098"/>
                    <a:pt x="166380" y="41093"/>
                    <a:pt x="166362" y="41089"/>
                  </a:cubicBezTo>
                  <a:lnTo>
                    <a:pt x="166303" y="41073"/>
                  </a:lnTo>
                  <a:close/>
                  <a:moveTo>
                    <a:pt x="25435" y="70934"/>
                  </a:moveTo>
                  <a:lnTo>
                    <a:pt x="25435" y="70934"/>
                  </a:lnTo>
                  <a:cubicBezTo>
                    <a:pt x="30742" y="69464"/>
                    <a:pt x="35907" y="67520"/>
                    <a:pt x="40865" y="65124"/>
                  </a:cubicBezTo>
                  <a:cubicBezTo>
                    <a:pt x="51513" y="58655"/>
                    <a:pt x="64640" y="57759"/>
                    <a:pt x="76068" y="62723"/>
                  </a:cubicBezTo>
                  <a:cubicBezTo>
                    <a:pt x="78308" y="63601"/>
                    <a:pt x="80836" y="62497"/>
                    <a:pt x="81714" y="60257"/>
                  </a:cubicBezTo>
                  <a:cubicBezTo>
                    <a:pt x="82573" y="58065"/>
                    <a:pt x="81535" y="55587"/>
                    <a:pt x="79371" y="54661"/>
                  </a:cubicBezTo>
                  <a:cubicBezTo>
                    <a:pt x="65769" y="48554"/>
                    <a:pt x="50041" y="49478"/>
                    <a:pt x="37248" y="57137"/>
                  </a:cubicBezTo>
                  <a:cubicBezTo>
                    <a:pt x="32765" y="59342"/>
                    <a:pt x="28086" y="61125"/>
                    <a:pt x="23274" y="62465"/>
                  </a:cubicBezTo>
                  <a:cubicBezTo>
                    <a:pt x="20930" y="63052"/>
                    <a:pt x="19507" y="65428"/>
                    <a:pt x="20095" y="67771"/>
                  </a:cubicBezTo>
                  <a:cubicBezTo>
                    <a:pt x="20682" y="70114"/>
                    <a:pt x="23058" y="71537"/>
                    <a:pt x="25401" y="70950"/>
                  </a:cubicBezTo>
                  <a:cubicBezTo>
                    <a:pt x="25412" y="70947"/>
                    <a:pt x="25422" y="70944"/>
                    <a:pt x="25432" y="70942"/>
                  </a:cubicBezTo>
                  <a:close/>
                  <a:moveTo>
                    <a:pt x="25435" y="92313"/>
                  </a:moveTo>
                  <a:lnTo>
                    <a:pt x="25435" y="92313"/>
                  </a:lnTo>
                  <a:cubicBezTo>
                    <a:pt x="30742" y="90843"/>
                    <a:pt x="35906" y="88898"/>
                    <a:pt x="40865" y="86503"/>
                  </a:cubicBezTo>
                  <a:cubicBezTo>
                    <a:pt x="51513" y="80031"/>
                    <a:pt x="64640" y="79136"/>
                    <a:pt x="76068" y="84102"/>
                  </a:cubicBezTo>
                  <a:cubicBezTo>
                    <a:pt x="78311" y="84975"/>
                    <a:pt x="80838" y="83865"/>
                    <a:pt x="81711" y="81622"/>
                  </a:cubicBezTo>
                  <a:cubicBezTo>
                    <a:pt x="82563" y="79434"/>
                    <a:pt x="81528" y="76963"/>
                    <a:pt x="79371" y="76036"/>
                  </a:cubicBezTo>
                  <a:cubicBezTo>
                    <a:pt x="65767" y="69920"/>
                    <a:pt x="50029" y="70859"/>
                    <a:pt x="37248" y="78548"/>
                  </a:cubicBezTo>
                  <a:cubicBezTo>
                    <a:pt x="32750" y="80709"/>
                    <a:pt x="28075" y="82479"/>
                    <a:pt x="23274" y="83837"/>
                  </a:cubicBezTo>
                  <a:cubicBezTo>
                    <a:pt x="20930" y="84424"/>
                    <a:pt x="19507" y="86800"/>
                    <a:pt x="20095" y="89143"/>
                  </a:cubicBezTo>
                  <a:cubicBezTo>
                    <a:pt x="20682" y="91486"/>
                    <a:pt x="23058" y="92909"/>
                    <a:pt x="25401" y="92322"/>
                  </a:cubicBezTo>
                  <a:cubicBezTo>
                    <a:pt x="25412" y="92319"/>
                    <a:pt x="25422" y="92317"/>
                    <a:pt x="25432" y="92314"/>
                  </a:cubicBezTo>
                  <a:close/>
                  <a:moveTo>
                    <a:pt x="25473" y="113735"/>
                  </a:moveTo>
                  <a:lnTo>
                    <a:pt x="25473" y="113735"/>
                  </a:lnTo>
                  <a:cubicBezTo>
                    <a:pt x="30765" y="112235"/>
                    <a:pt x="35916" y="110276"/>
                    <a:pt x="40867" y="107881"/>
                  </a:cubicBezTo>
                  <a:cubicBezTo>
                    <a:pt x="51529" y="101410"/>
                    <a:pt x="64669" y="100515"/>
                    <a:pt x="76110" y="105481"/>
                  </a:cubicBezTo>
                  <a:cubicBezTo>
                    <a:pt x="78305" y="106394"/>
                    <a:pt x="80825" y="105356"/>
                    <a:pt x="81739" y="103160"/>
                  </a:cubicBezTo>
                  <a:cubicBezTo>
                    <a:pt x="81739" y="103160"/>
                    <a:pt x="81739" y="103160"/>
                    <a:pt x="81739" y="103160"/>
                  </a:cubicBezTo>
                  <a:lnTo>
                    <a:pt x="81756" y="103118"/>
                  </a:lnTo>
                  <a:cubicBezTo>
                    <a:pt x="82670" y="100886"/>
                    <a:pt x="81605" y="98334"/>
                    <a:pt x="79375" y="97415"/>
                  </a:cubicBezTo>
                  <a:cubicBezTo>
                    <a:pt x="65766" y="91317"/>
                    <a:pt x="50036" y="92257"/>
                    <a:pt x="37251" y="99931"/>
                  </a:cubicBezTo>
                  <a:cubicBezTo>
                    <a:pt x="32754" y="102104"/>
                    <a:pt x="28079" y="103886"/>
                    <a:pt x="23277" y="105256"/>
                  </a:cubicBezTo>
                  <a:cubicBezTo>
                    <a:pt x="20953" y="105854"/>
                    <a:pt x="19546" y="108215"/>
                    <a:pt x="20128" y="110544"/>
                  </a:cubicBezTo>
                  <a:cubicBezTo>
                    <a:pt x="20740" y="112889"/>
                    <a:pt x="23120" y="114309"/>
                    <a:pt x="25474" y="113736"/>
                  </a:cubicBezTo>
                  <a:close/>
                  <a:moveTo>
                    <a:pt x="25473" y="49556"/>
                  </a:moveTo>
                  <a:lnTo>
                    <a:pt x="25473" y="49556"/>
                  </a:lnTo>
                  <a:cubicBezTo>
                    <a:pt x="30764" y="48069"/>
                    <a:pt x="35914" y="46123"/>
                    <a:pt x="40867" y="43741"/>
                  </a:cubicBezTo>
                  <a:cubicBezTo>
                    <a:pt x="51523" y="37248"/>
                    <a:pt x="64673" y="36353"/>
                    <a:pt x="76110" y="41340"/>
                  </a:cubicBezTo>
                  <a:cubicBezTo>
                    <a:pt x="78346" y="42220"/>
                    <a:pt x="80872" y="41120"/>
                    <a:pt x="81751" y="38883"/>
                  </a:cubicBezTo>
                  <a:cubicBezTo>
                    <a:pt x="82619" y="36679"/>
                    <a:pt x="81562" y="34185"/>
                    <a:pt x="79375" y="33274"/>
                  </a:cubicBezTo>
                  <a:cubicBezTo>
                    <a:pt x="65773" y="27166"/>
                    <a:pt x="50043" y="28090"/>
                    <a:pt x="37251" y="35751"/>
                  </a:cubicBezTo>
                  <a:cubicBezTo>
                    <a:pt x="32755" y="37923"/>
                    <a:pt x="28080" y="39704"/>
                    <a:pt x="23278" y="41074"/>
                  </a:cubicBezTo>
                  <a:cubicBezTo>
                    <a:pt x="20915" y="41596"/>
                    <a:pt x="19421" y="43934"/>
                    <a:pt x="19943" y="46297"/>
                  </a:cubicBezTo>
                  <a:cubicBezTo>
                    <a:pt x="20464" y="48660"/>
                    <a:pt x="22802" y="50153"/>
                    <a:pt x="25165" y="49632"/>
                  </a:cubicBezTo>
                  <a:cubicBezTo>
                    <a:pt x="25269" y="49609"/>
                    <a:pt x="25372" y="49582"/>
                    <a:pt x="25474" y="49552"/>
                  </a:cubicBezTo>
                  <a:close/>
                  <a:moveTo>
                    <a:pt x="99177" y="26373"/>
                  </a:moveTo>
                  <a:lnTo>
                    <a:pt x="99177" y="26373"/>
                  </a:lnTo>
                  <a:lnTo>
                    <a:pt x="99177" y="125174"/>
                  </a:lnTo>
                  <a:cubicBezTo>
                    <a:pt x="115216" y="113650"/>
                    <a:pt x="136563" y="112738"/>
                    <a:pt x="153528" y="122851"/>
                  </a:cubicBezTo>
                  <a:cubicBezTo>
                    <a:pt x="160208" y="126363"/>
                    <a:pt x="167509" y="128541"/>
                    <a:pt x="175022" y="129262"/>
                  </a:cubicBezTo>
                  <a:lnTo>
                    <a:pt x="175022" y="27987"/>
                  </a:lnTo>
                  <a:cubicBezTo>
                    <a:pt x="165423" y="27394"/>
                    <a:pt x="156059" y="24773"/>
                    <a:pt x="147547" y="20298"/>
                  </a:cubicBezTo>
                  <a:cubicBezTo>
                    <a:pt x="135375" y="14785"/>
                    <a:pt x="124348" y="9796"/>
                    <a:pt x="99177" y="26374"/>
                  </a:cubicBezTo>
                  <a:close/>
                  <a:moveTo>
                    <a:pt x="90439" y="125174"/>
                  </a:moveTo>
                  <a:lnTo>
                    <a:pt x="90439" y="125174"/>
                  </a:lnTo>
                  <a:lnTo>
                    <a:pt x="90439" y="26373"/>
                  </a:lnTo>
                  <a:cubicBezTo>
                    <a:pt x="65250" y="9799"/>
                    <a:pt x="54244" y="14784"/>
                    <a:pt x="42070" y="20297"/>
                  </a:cubicBezTo>
                  <a:cubicBezTo>
                    <a:pt x="33550" y="24769"/>
                    <a:pt x="24181" y="27389"/>
                    <a:pt x="14576" y="27985"/>
                  </a:cubicBezTo>
                  <a:lnTo>
                    <a:pt x="14576" y="129264"/>
                  </a:lnTo>
                  <a:cubicBezTo>
                    <a:pt x="22093" y="128540"/>
                    <a:pt x="29398" y="126363"/>
                    <a:pt x="36086" y="122853"/>
                  </a:cubicBezTo>
                  <a:cubicBezTo>
                    <a:pt x="53051" y="112740"/>
                    <a:pt x="74398" y="113653"/>
                    <a:pt x="90439" y="125176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</p:grpSp>
      <p:grpSp>
        <p:nvGrpSpPr>
          <p:cNvPr id="79" name="Gruppieren 78"/>
          <p:cNvGrpSpPr/>
          <p:nvPr/>
        </p:nvGrpSpPr>
        <p:grpSpPr>
          <a:xfrm>
            <a:off x="8727462" y="2986011"/>
            <a:ext cx="648000" cy="648000"/>
            <a:chOff x="9216139" y="2873822"/>
            <a:chExt cx="648000" cy="648000"/>
          </a:xfrm>
        </p:grpSpPr>
        <p:sp>
          <p:nvSpPr>
            <p:cNvPr id="47" name="Freeform: Shape 380">
              <a:extLst>
                <a:ext uri="{FF2B5EF4-FFF2-40B4-BE49-F238E27FC236}">
                  <a16:creationId xmlns:a16="http://schemas.microsoft.com/office/drawing/2014/main" id="{832FD4CD-81B1-424E-9309-E03B59C22A80}"/>
                </a:ext>
              </a:extLst>
            </p:cNvPr>
            <p:cNvSpPr/>
            <p:nvPr/>
          </p:nvSpPr>
          <p:spPr>
            <a:xfrm>
              <a:off x="9216139" y="2873822"/>
              <a:ext cx="648000" cy="648000"/>
            </a:xfrm>
            <a:custGeom>
              <a:avLst/>
              <a:gdLst>
                <a:gd name="connsiteX0" fmla="*/ 0 w 306268"/>
                <a:gd name="connsiteY0" fmla="*/ 0 h 306268"/>
                <a:gd name="connsiteX1" fmla="*/ 306269 w 306268"/>
                <a:gd name="connsiteY1" fmla="*/ 0 h 306268"/>
                <a:gd name="connsiteX2" fmla="*/ 306269 w 306268"/>
                <a:gd name="connsiteY2" fmla="*/ 306269 h 306268"/>
                <a:gd name="connsiteX3" fmla="*/ 0 w 306268"/>
                <a:gd name="connsiteY3" fmla="*/ 306269 h 3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268" h="306268">
                  <a:moveTo>
                    <a:pt x="0" y="0"/>
                  </a:moveTo>
                  <a:lnTo>
                    <a:pt x="306269" y="0"/>
                  </a:lnTo>
                  <a:lnTo>
                    <a:pt x="306269" y="306269"/>
                  </a:lnTo>
                  <a:lnTo>
                    <a:pt x="0" y="306269"/>
                  </a:lnTo>
                  <a:close/>
                </a:path>
              </a:pathLst>
            </a:custGeom>
            <a:noFill/>
            <a:ln w="19050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48" name="Freeform: Shape 381">
              <a:extLst>
                <a:ext uri="{FF2B5EF4-FFF2-40B4-BE49-F238E27FC236}">
                  <a16:creationId xmlns:a16="http://schemas.microsoft.com/office/drawing/2014/main" id="{1017F872-609E-46C2-93BF-FBD5A37C7B90}"/>
                </a:ext>
              </a:extLst>
            </p:cNvPr>
            <p:cNvSpPr/>
            <p:nvPr/>
          </p:nvSpPr>
          <p:spPr>
            <a:xfrm>
              <a:off x="9439721" y="3169425"/>
              <a:ext cx="200842" cy="164448"/>
            </a:xfrm>
            <a:custGeom>
              <a:avLst/>
              <a:gdLst>
                <a:gd name="connsiteX0" fmla="*/ 94925 w 94925"/>
                <a:gd name="connsiteY0" fmla="*/ 77725 h 77724"/>
                <a:gd name="connsiteX1" fmla="*/ 83204 w 94925"/>
                <a:gd name="connsiteY1" fmla="*/ 77725 h 77724"/>
                <a:gd name="connsiteX2" fmla="*/ 83204 w 94925"/>
                <a:gd name="connsiteY2" fmla="*/ 28551 h 77724"/>
                <a:gd name="connsiteX3" fmla="*/ 47458 w 94925"/>
                <a:gd name="connsiteY3" fmla="*/ 11720 h 77724"/>
                <a:gd name="connsiteX4" fmla="*/ 11720 w 94925"/>
                <a:gd name="connsiteY4" fmla="*/ 28551 h 77724"/>
                <a:gd name="connsiteX5" fmla="*/ 11720 w 94925"/>
                <a:gd name="connsiteY5" fmla="*/ 77725 h 77724"/>
                <a:gd name="connsiteX6" fmla="*/ 0 w 94925"/>
                <a:gd name="connsiteY6" fmla="*/ 77725 h 77724"/>
                <a:gd name="connsiteX7" fmla="*/ 0 w 94925"/>
                <a:gd name="connsiteY7" fmla="*/ 28551 h 77724"/>
                <a:gd name="connsiteX8" fmla="*/ 47458 w 94925"/>
                <a:gd name="connsiteY8" fmla="*/ 0 h 77724"/>
                <a:gd name="connsiteX9" fmla="*/ 94925 w 94925"/>
                <a:gd name="connsiteY9" fmla="*/ 28551 h 77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925" h="77724">
                  <a:moveTo>
                    <a:pt x="94925" y="77725"/>
                  </a:moveTo>
                  <a:lnTo>
                    <a:pt x="83204" y="77725"/>
                  </a:lnTo>
                  <a:lnTo>
                    <a:pt x="83204" y="28551"/>
                  </a:lnTo>
                  <a:cubicBezTo>
                    <a:pt x="83204" y="20910"/>
                    <a:pt x="61252" y="11720"/>
                    <a:pt x="47458" y="11720"/>
                  </a:cubicBezTo>
                  <a:cubicBezTo>
                    <a:pt x="33664" y="11720"/>
                    <a:pt x="11720" y="20910"/>
                    <a:pt x="11720" y="28551"/>
                  </a:cubicBezTo>
                  <a:lnTo>
                    <a:pt x="11720" y="77725"/>
                  </a:lnTo>
                  <a:lnTo>
                    <a:pt x="0" y="77725"/>
                  </a:lnTo>
                  <a:lnTo>
                    <a:pt x="0" y="28551"/>
                  </a:lnTo>
                  <a:cubicBezTo>
                    <a:pt x="0" y="10078"/>
                    <a:pt x="31346" y="0"/>
                    <a:pt x="47458" y="0"/>
                  </a:cubicBezTo>
                  <a:cubicBezTo>
                    <a:pt x="63569" y="0"/>
                    <a:pt x="94925" y="10078"/>
                    <a:pt x="94925" y="28551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49" name="Freeform: Shape 386">
              <a:extLst>
                <a:ext uri="{FF2B5EF4-FFF2-40B4-BE49-F238E27FC236}">
                  <a16:creationId xmlns:a16="http://schemas.microsoft.com/office/drawing/2014/main" id="{F64A1C8D-F2B2-4BEE-B717-00D8222D4ECA}"/>
                </a:ext>
              </a:extLst>
            </p:cNvPr>
            <p:cNvSpPr/>
            <p:nvPr/>
          </p:nvSpPr>
          <p:spPr>
            <a:xfrm>
              <a:off x="9375689" y="3065715"/>
              <a:ext cx="104841" cy="120518"/>
            </a:xfrm>
            <a:custGeom>
              <a:avLst/>
              <a:gdLst>
                <a:gd name="connsiteX0" fmla="*/ 24777 w 49552"/>
                <a:gd name="connsiteY0" fmla="*/ 56956 h 56961"/>
                <a:gd name="connsiteX1" fmla="*/ 6 w 49552"/>
                <a:gd name="connsiteY1" fmla="*/ 33281 h 56961"/>
                <a:gd name="connsiteX2" fmla="*/ 6 w 49552"/>
                <a:gd name="connsiteY2" fmla="*/ 32185 h 56961"/>
                <a:gd name="connsiteX3" fmla="*/ 6 w 49552"/>
                <a:gd name="connsiteY3" fmla="*/ 24617 h 56961"/>
                <a:gd name="connsiteX4" fmla="*/ 24930 w 49552"/>
                <a:gd name="connsiteY4" fmla="*/ 0 h 56961"/>
                <a:gd name="connsiteX5" fmla="*/ 49546 w 49552"/>
                <a:gd name="connsiteY5" fmla="*/ 24617 h 56961"/>
                <a:gd name="connsiteX6" fmla="*/ 49546 w 49552"/>
                <a:gd name="connsiteY6" fmla="*/ 32185 h 56961"/>
                <a:gd name="connsiteX7" fmla="*/ 25872 w 49552"/>
                <a:gd name="connsiteY7" fmla="*/ 56956 h 56961"/>
                <a:gd name="connsiteX8" fmla="*/ 24777 w 49552"/>
                <a:gd name="connsiteY8" fmla="*/ 56956 h 56961"/>
                <a:gd name="connsiteX9" fmla="*/ 24777 w 49552"/>
                <a:gd name="connsiteY9" fmla="*/ 11567 h 56961"/>
                <a:gd name="connsiteX10" fmla="*/ 11727 w 49552"/>
                <a:gd name="connsiteY10" fmla="*/ 23466 h 56961"/>
                <a:gd name="connsiteX11" fmla="*/ 11727 w 49552"/>
                <a:gd name="connsiteY11" fmla="*/ 24616 h 56961"/>
                <a:gd name="connsiteX12" fmla="*/ 11727 w 49552"/>
                <a:gd name="connsiteY12" fmla="*/ 32184 h 56961"/>
                <a:gd name="connsiteX13" fmla="*/ 24777 w 49552"/>
                <a:gd name="connsiteY13" fmla="*/ 45233 h 56961"/>
                <a:gd name="connsiteX14" fmla="*/ 37826 w 49552"/>
                <a:gd name="connsiteY14" fmla="*/ 32184 h 56961"/>
                <a:gd name="connsiteX15" fmla="*/ 37826 w 49552"/>
                <a:gd name="connsiteY15" fmla="*/ 24616 h 56961"/>
                <a:gd name="connsiteX16" fmla="*/ 25927 w 49552"/>
                <a:gd name="connsiteY16" fmla="*/ 11567 h 56961"/>
                <a:gd name="connsiteX17" fmla="*/ 24777 w 49552"/>
                <a:gd name="connsiteY17" fmla="*/ 11567 h 56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552" h="56961">
                  <a:moveTo>
                    <a:pt x="24777" y="56956"/>
                  </a:moveTo>
                  <a:cubicBezTo>
                    <a:pt x="11399" y="57258"/>
                    <a:pt x="309" y="46659"/>
                    <a:pt x="6" y="33281"/>
                  </a:cubicBezTo>
                  <a:cubicBezTo>
                    <a:pt x="-2" y="32916"/>
                    <a:pt x="-2" y="32550"/>
                    <a:pt x="6" y="32185"/>
                  </a:cubicBezTo>
                  <a:lnTo>
                    <a:pt x="6" y="24617"/>
                  </a:lnTo>
                  <a:cubicBezTo>
                    <a:pt x="90" y="10937"/>
                    <a:pt x="11249" y="-84"/>
                    <a:pt x="24930" y="0"/>
                  </a:cubicBezTo>
                  <a:cubicBezTo>
                    <a:pt x="38490" y="85"/>
                    <a:pt x="49462" y="11057"/>
                    <a:pt x="49546" y="24617"/>
                  </a:cubicBezTo>
                  <a:lnTo>
                    <a:pt x="49546" y="32185"/>
                  </a:lnTo>
                  <a:cubicBezTo>
                    <a:pt x="49849" y="45563"/>
                    <a:pt x="39250" y="56653"/>
                    <a:pt x="25872" y="56956"/>
                  </a:cubicBezTo>
                  <a:cubicBezTo>
                    <a:pt x="25507" y="56964"/>
                    <a:pt x="25142" y="56964"/>
                    <a:pt x="24777" y="56956"/>
                  </a:cubicBezTo>
                  <a:close/>
                  <a:moveTo>
                    <a:pt x="24777" y="11567"/>
                  </a:moveTo>
                  <a:cubicBezTo>
                    <a:pt x="17888" y="11249"/>
                    <a:pt x="12045" y="16577"/>
                    <a:pt x="11727" y="23466"/>
                  </a:cubicBezTo>
                  <a:cubicBezTo>
                    <a:pt x="11710" y="23849"/>
                    <a:pt x="11710" y="24233"/>
                    <a:pt x="11727" y="24616"/>
                  </a:cubicBezTo>
                  <a:lnTo>
                    <a:pt x="11727" y="32184"/>
                  </a:lnTo>
                  <a:cubicBezTo>
                    <a:pt x="11727" y="39391"/>
                    <a:pt x="17570" y="45233"/>
                    <a:pt x="24777" y="45233"/>
                  </a:cubicBezTo>
                  <a:cubicBezTo>
                    <a:pt x="31984" y="45233"/>
                    <a:pt x="37826" y="39391"/>
                    <a:pt x="37826" y="32184"/>
                  </a:cubicBezTo>
                  <a:lnTo>
                    <a:pt x="37826" y="24616"/>
                  </a:lnTo>
                  <a:cubicBezTo>
                    <a:pt x="38143" y="17727"/>
                    <a:pt x="32816" y="11885"/>
                    <a:pt x="25927" y="11567"/>
                  </a:cubicBezTo>
                  <a:cubicBezTo>
                    <a:pt x="25544" y="11549"/>
                    <a:pt x="25160" y="11549"/>
                    <a:pt x="24777" y="11567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50" name="Freeform: Shape 384">
              <a:extLst>
                <a:ext uri="{FF2B5EF4-FFF2-40B4-BE49-F238E27FC236}">
                  <a16:creationId xmlns:a16="http://schemas.microsoft.com/office/drawing/2014/main" id="{EDC1EDE1-6889-4A08-8D6F-C6D7CAB1BACB}"/>
                </a:ext>
              </a:extLst>
            </p:cNvPr>
            <p:cNvSpPr/>
            <p:nvPr/>
          </p:nvSpPr>
          <p:spPr>
            <a:xfrm>
              <a:off x="9599751" y="3065392"/>
              <a:ext cx="104845" cy="120843"/>
            </a:xfrm>
            <a:custGeom>
              <a:avLst/>
              <a:gdLst>
                <a:gd name="connsiteX0" fmla="*/ 24777 w 49553"/>
                <a:gd name="connsiteY0" fmla="*/ 57109 h 57115"/>
                <a:gd name="connsiteX1" fmla="*/ 6 w 49553"/>
                <a:gd name="connsiteY1" fmla="*/ 33433 h 57115"/>
                <a:gd name="connsiteX2" fmla="*/ 6 w 49553"/>
                <a:gd name="connsiteY2" fmla="*/ 32338 h 57115"/>
                <a:gd name="connsiteX3" fmla="*/ 6 w 49553"/>
                <a:gd name="connsiteY3" fmla="*/ 24771 h 57115"/>
                <a:gd name="connsiteX4" fmla="*/ 24776 w 49553"/>
                <a:gd name="connsiteY4" fmla="*/ 0 h 57115"/>
                <a:gd name="connsiteX5" fmla="*/ 49547 w 49553"/>
                <a:gd name="connsiteY5" fmla="*/ 24771 h 57115"/>
                <a:gd name="connsiteX6" fmla="*/ 49547 w 49553"/>
                <a:gd name="connsiteY6" fmla="*/ 32338 h 57115"/>
                <a:gd name="connsiteX7" fmla="*/ 25871 w 49553"/>
                <a:gd name="connsiteY7" fmla="*/ 57109 h 57115"/>
                <a:gd name="connsiteX8" fmla="*/ 24777 w 49553"/>
                <a:gd name="connsiteY8" fmla="*/ 57109 h 57115"/>
                <a:gd name="connsiteX9" fmla="*/ 24777 w 49553"/>
                <a:gd name="connsiteY9" fmla="*/ 11721 h 57115"/>
                <a:gd name="connsiteX10" fmla="*/ 11727 w 49553"/>
                <a:gd name="connsiteY10" fmla="*/ 23619 h 57115"/>
                <a:gd name="connsiteX11" fmla="*/ 11727 w 49553"/>
                <a:gd name="connsiteY11" fmla="*/ 24770 h 57115"/>
                <a:gd name="connsiteX12" fmla="*/ 11727 w 49553"/>
                <a:gd name="connsiteY12" fmla="*/ 32337 h 57115"/>
                <a:gd name="connsiteX13" fmla="*/ 24777 w 49553"/>
                <a:gd name="connsiteY13" fmla="*/ 45387 h 57115"/>
                <a:gd name="connsiteX14" fmla="*/ 37826 w 49553"/>
                <a:gd name="connsiteY14" fmla="*/ 32337 h 57115"/>
                <a:gd name="connsiteX15" fmla="*/ 37826 w 49553"/>
                <a:gd name="connsiteY15" fmla="*/ 24770 h 57115"/>
                <a:gd name="connsiteX16" fmla="*/ 25929 w 49553"/>
                <a:gd name="connsiteY16" fmla="*/ 11721 h 57115"/>
                <a:gd name="connsiteX17" fmla="*/ 24777 w 49553"/>
                <a:gd name="connsiteY17" fmla="*/ 11721 h 57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553" h="57115">
                  <a:moveTo>
                    <a:pt x="24777" y="57109"/>
                  </a:moveTo>
                  <a:cubicBezTo>
                    <a:pt x="11398" y="57411"/>
                    <a:pt x="308" y="46811"/>
                    <a:pt x="6" y="33433"/>
                  </a:cubicBezTo>
                  <a:cubicBezTo>
                    <a:pt x="-2" y="33068"/>
                    <a:pt x="-2" y="32703"/>
                    <a:pt x="6" y="32338"/>
                  </a:cubicBezTo>
                  <a:lnTo>
                    <a:pt x="6" y="24771"/>
                  </a:lnTo>
                  <a:cubicBezTo>
                    <a:pt x="6" y="11090"/>
                    <a:pt x="11096" y="0"/>
                    <a:pt x="24776" y="0"/>
                  </a:cubicBezTo>
                  <a:cubicBezTo>
                    <a:pt x="38457" y="0"/>
                    <a:pt x="49547" y="11090"/>
                    <a:pt x="49547" y="24771"/>
                  </a:cubicBezTo>
                  <a:lnTo>
                    <a:pt x="49547" y="32338"/>
                  </a:lnTo>
                  <a:cubicBezTo>
                    <a:pt x="49850" y="45717"/>
                    <a:pt x="39249" y="56807"/>
                    <a:pt x="25871" y="57109"/>
                  </a:cubicBezTo>
                  <a:cubicBezTo>
                    <a:pt x="25506" y="57117"/>
                    <a:pt x="25141" y="57117"/>
                    <a:pt x="24777" y="57109"/>
                  </a:cubicBezTo>
                  <a:close/>
                  <a:moveTo>
                    <a:pt x="24777" y="11721"/>
                  </a:moveTo>
                  <a:cubicBezTo>
                    <a:pt x="17888" y="11403"/>
                    <a:pt x="12045" y="16730"/>
                    <a:pt x="11727" y="23619"/>
                  </a:cubicBezTo>
                  <a:cubicBezTo>
                    <a:pt x="11710" y="24003"/>
                    <a:pt x="11710" y="24387"/>
                    <a:pt x="11727" y="24770"/>
                  </a:cubicBezTo>
                  <a:lnTo>
                    <a:pt x="11727" y="32337"/>
                  </a:lnTo>
                  <a:cubicBezTo>
                    <a:pt x="11727" y="39544"/>
                    <a:pt x="17570" y="45387"/>
                    <a:pt x="24777" y="45387"/>
                  </a:cubicBezTo>
                  <a:cubicBezTo>
                    <a:pt x="31984" y="45387"/>
                    <a:pt x="37826" y="39544"/>
                    <a:pt x="37826" y="32337"/>
                  </a:cubicBezTo>
                  <a:lnTo>
                    <a:pt x="37826" y="24770"/>
                  </a:lnTo>
                  <a:cubicBezTo>
                    <a:pt x="38144" y="17881"/>
                    <a:pt x="32817" y="12039"/>
                    <a:pt x="25929" y="11721"/>
                  </a:cubicBezTo>
                  <a:cubicBezTo>
                    <a:pt x="25545" y="11703"/>
                    <a:pt x="25160" y="11703"/>
                    <a:pt x="24777" y="11721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51" name="Freeform: Shape 382">
              <a:extLst>
                <a:ext uri="{FF2B5EF4-FFF2-40B4-BE49-F238E27FC236}">
                  <a16:creationId xmlns:a16="http://schemas.microsoft.com/office/drawing/2014/main" id="{21EC762B-F8D2-49B2-BF25-C6626771EE29}"/>
                </a:ext>
              </a:extLst>
            </p:cNvPr>
            <p:cNvSpPr/>
            <p:nvPr/>
          </p:nvSpPr>
          <p:spPr>
            <a:xfrm>
              <a:off x="9487712" y="3049065"/>
              <a:ext cx="104841" cy="121157"/>
            </a:xfrm>
            <a:custGeom>
              <a:avLst/>
              <a:gdLst>
                <a:gd name="connsiteX0" fmla="*/ 24777 w 49552"/>
                <a:gd name="connsiteY0" fmla="*/ 57257 h 57263"/>
                <a:gd name="connsiteX1" fmla="*/ 6 w 49552"/>
                <a:gd name="connsiteY1" fmla="*/ 33585 h 57263"/>
                <a:gd name="connsiteX2" fmla="*/ 6 w 49552"/>
                <a:gd name="connsiteY2" fmla="*/ 32486 h 57263"/>
                <a:gd name="connsiteX3" fmla="*/ 6 w 49552"/>
                <a:gd name="connsiteY3" fmla="*/ 24924 h 57263"/>
                <a:gd name="connsiteX4" fmla="*/ 24623 w 49552"/>
                <a:gd name="connsiteY4" fmla="*/ 0 h 57263"/>
                <a:gd name="connsiteX5" fmla="*/ 49547 w 49552"/>
                <a:gd name="connsiteY5" fmla="*/ 24617 h 57263"/>
                <a:gd name="connsiteX6" fmla="*/ 49547 w 49552"/>
                <a:gd name="connsiteY6" fmla="*/ 24924 h 57263"/>
                <a:gd name="connsiteX7" fmla="*/ 49546 w 49552"/>
                <a:gd name="connsiteY7" fmla="*/ 32486 h 57263"/>
                <a:gd name="connsiteX8" fmla="*/ 25874 w 49552"/>
                <a:gd name="connsiteY8" fmla="*/ 57257 h 57263"/>
                <a:gd name="connsiteX9" fmla="*/ 24776 w 49552"/>
                <a:gd name="connsiteY9" fmla="*/ 57257 h 57263"/>
                <a:gd name="connsiteX10" fmla="*/ 24777 w 49552"/>
                <a:gd name="connsiteY10" fmla="*/ 11874 h 57263"/>
                <a:gd name="connsiteX11" fmla="*/ 11727 w 49552"/>
                <a:gd name="connsiteY11" fmla="*/ 23773 h 57263"/>
                <a:gd name="connsiteX12" fmla="*/ 11727 w 49552"/>
                <a:gd name="connsiteY12" fmla="*/ 24923 h 57263"/>
                <a:gd name="connsiteX13" fmla="*/ 11727 w 49552"/>
                <a:gd name="connsiteY13" fmla="*/ 32485 h 57263"/>
                <a:gd name="connsiteX14" fmla="*/ 24777 w 49552"/>
                <a:gd name="connsiteY14" fmla="*/ 45535 h 57263"/>
                <a:gd name="connsiteX15" fmla="*/ 37826 w 49552"/>
                <a:gd name="connsiteY15" fmla="*/ 32485 h 57263"/>
                <a:gd name="connsiteX16" fmla="*/ 37826 w 49552"/>
                <a:gd name="connsiteY16" fmla="*/ 24923 h 57263"/>
                <a:gd name="connsiteX17" fmla="*/ 25927 w 49552"/>
                <a:gd name="connsiteY17" fmla="*/ 11874 h 57263"/>
                <a:gd name="connsiteX18" fmla="*/ 24777 w 49552"/>
                <a:gd name="connsiteY18" fmla="*/ 11874 h 57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9552" h="57263">
                  <a:moveTo>
                    <a:pt x="24777" y="57257"/>
                  </a:moveTo>
                  <a:cubicBezTo>
                    <a:pt x="11400" y="57560"/>
                    <a:pt x="309" y="46962"/>
                    <a:pt x="6" y="33585"/>
                  </a:cubicBezTo>
                  <a:cubicBezTo>
                    <a:pt x="-2" y="33219"/>
                    <a:pt x="-2" y="32852"/>
                    <a:pt x="6" y="32486"/>
                  </a:cubicBezTo>
                  <a:lnTo>
                    <a:pt x="6" y="24924"/>
                  </a:lnTo>
                  <a:cubicBezTo>
                    <a:pt x="-79" y="11244"/>
                    <a:pt x="10943" y="85"/>
                    <a:pt x="24623" y="0"/>
                  </a:cubicBezTo>
                  <a:cubicBezTo>
                    <a:pt x="38303" y="-84"/>
                    <a:pt x="49462" y="10937"/>
                    <a:pt x="49547" y="24617"/>
                  </a:cubicBezTo>
                  <a:cubicBezTo>
                    <a:pt x="49547" y="24720"/>
                    <a:pt x="49547" y="24822"/>
                    <a:pt x="49547" y="24924"/>
                  </a:cubicBezTo>
                  <a:lnTo>
                    <a:pt x="49546" y="32486"/>
                  </a:lnTo>
                  <a:cubicBezTo>
                    <a:pt x="49850" y="45863"/>
                    <a:pt x="39251" y="56954"/>
                    <a:pt x="25874" y="57257"/>
                  </a:cubicBezTo>
                  <a:cubicBezTo>
                    <a:pt x="25508" y="57265"/>
                    <a:pt x="25142" y="57265"/>
                    <a:pt x="24776" y="57257"/>
                  </a:cubicBezTo>
                  <a:close/>
                  <a:moveTo>
                    <a:pt x="24777" y="11874"/>
                  </a:moveTo>
                  <a:cubicBezTo>
                    <a:pt x="17888" y="11556"/>
                    <a:pt x="12045" y="16884"/>
                    <a:pt x="11727" y="23773"/>
                  </a:cubicBezTo>
                  <a:cubicBezTo>
                    <a:pt x="11710" y="24156"/>
                    <a:pt x="11710" y="24540"/>
                    <a:pt x="11727" y="24923"/>
                  </a:cubicBezTo>
                  <a:lnTo>
                    <a:pt x="11727" y="32485"/>
                  </a:lnTo>
                  <a:cubicBezTo>
                    <a:pt x="11727" y="39692"/>
                    <a:pt x="17570" y="45535"/>
                    <a:pt x="24777" y="45535"/>
                  </a:cubicBezTo>
                  <a:cubicBezTo>
                    <a:pt x="31984" y="45535"/>
                    <a:pt x="37826" y="39692"/>
                    <a:pt x="37826" y="32485"/>
                  </a:cubicBezTo>
                  <a:lnTo>
                    <a:pt x="37826" y="24923"/>
                  </a:lnTo>
                  <a:cubicBezTo>
                    <a:pt x="38143" y="18034"/>
                    <a:pt x="32816" y="12192"/>
                    <a:pt x="25927" y="11874"/>
                  </a:cubicBezTo>
                  <a:cubicBezTo>
                    <a:pt x="25544" y="11856"/>
                    <a:pt x="25160" y="11856"/>
                    <a:pt x="24777" y="11874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52" name="Freeform: Shape 383">
              <a:extLst>
                <a:ext uri="{FF2B5EF4-FFF2-40B4-BE49-F238E27FC236}">
                  <a16:creationId xmlns:a16="http://schemas.microsoft.com/office/drawing/2014/main" id="{30220621-427A-46A7-AEF1-E7DC22B439B3}"/>
                </a:ext>
              </a:extLst>
            </p:cNvPr>
            <p:cNvSpPr/>
            <p:nvPr/>
          </p:nvSpPr>
          <p:spPr>
            <a:xfrm>
              <a:off x="9636157" y="3185433"/>
              <a:ext cx="100428" cy="140422"/>
            </a:xfrm>
            <a:custGeom>
              <a:avLst/>
              <a:gdLst>
                <a:gd name="connsiteX0" fmla="*/ 47465 w 47466"/>
                <a:gd name="connsiteY0" fmla="*/ 66368 h 66368"/>
                <a:gd name="connsiteX1" fmla="*/ 35745 w 47466"/>
                <a:gd name="connsiteY1" fmla="*/ 66368 h 66368"/>
                <a:gd name="connsiteX2" fmla="*/ 35745 w 47466"/>
                <a:gd name="connsiteY2" fmla="*/ 28547 h 66368"/>
                <a:gd name="connsiteX3" fmla="*/ 3785 w 47466"/>
                <a:gd name="connsiteY3" fmla="*/ 11716 h 66368"/>
                <a:gd name="connsiteX4" fmla="*/ 0 w 47466"/>
                <a:gd name="connsiteY4" fmla="*/ 11716 h 66368"/>
                <a:gd name="connsiteX5" fmla="*/ 0 w 47466"/>
                <a:gd name="connsiteY5" fmla="*/ 0 h 66368"/>
                <a:gd name="connsiteX6" fmla="*/ 3786 w 47466"/>
                <a:gd name="connsiteY6" fmla="*/ 0 h 66368"/>
                <a:gd name="connsiteX7" fmla="*/ 47467 w 47466"/>
                <a:gd name="connsiteY7" fmla="*/ 28552 h 66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466" h="66368">
                  <a:moveTo>
                    <a:pt x="47465" y="66368"/>
                  </a:moveTo>
                  <a:lnTo>
                    <a:pt x="35745" y="66368"/>
                  </a:lnTo>
                  <a:lnTo>
                    <a:pt x="35745" y="28547"/>
                  </a:lnTo>
                  <a:cubicBezTo>
                    <a:pt x="35745" y="21283"/>
                    <a:pt x="15647" y="11716"/>
                    <a:pt x="3785" y="11716"/>
                  </a:cubicBezTo>
                  <a:lnTo>
                    <a:pt x="0" y="11716"/>
                  </a:lnTo>
                  <a:lnTo>
                    <a:pt x="0" y="0"/>
                  </a:lnTo>
                  <a:lnTo>
                    <a:pt x="3786" y="0"/>
                  </a:lnTo>
                  <a:cubicBezTo>
                    <a:pt x="18781" y="0"/>
                    <a:pt x="47467" y="11120"/>
                    <a:pt x="47467" y="28552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53" name="Freeform: Shape 385">
              <a:extLst>
                <a:ext uri="{FF2B5EF4-FFF2-40B4-BE49-F238E27FC236}">
                  <a16:creationId xmlns:a16="http://schemas.microsoft.com/office/drawing/2014/main" id="{A899EE9E-B096-4E0C-8665-B90651F4F604}"/>
                </a:ext>
              </a:extLst>
            </p:cNvPr>
            <p:cNvSpPr/>
            <p:nvPr/>
          </p:nvSpPr>
          <p:spPr>
            <a:xfrm>
              <a:off x="9343701" y="3185423"/>
              <a:ext cx="100409" cy="140431"/>
            </a:xfrm>
            <a:custGeom>
              <a:avLst/>
              <a:gdLst>
                <a:gd name="connsiteX0" fmla="*/ 11721 w 47457"/>
                <a:gd name="connsiteY0" fmla="*/ 66373 h 66373"/>
                <a:gd name="connsiteX1" fmla="*/ 0 w 47457"/>
                <a:gd name="connsiteY1" fmla="*/ 66373 h 66373"/>
                <a:gd name="connsiteX2" fmla="*/ 0 w 47457"/>
                <a:gd name="connsiteY2" fmla="*/ 28552 h 66373"/>
                <a:gd name="connsiteX3" fmla="*/ 43681 w 47457"/>
                <a:gd name="connsiteY3" fmla="*/ 0 h 66373"/>
                <a:gd name="connsiteX4" fmla="*/ 47458 w 47457"/>
                <a:gd name="connsiteY4" fmla="*/ 0 h 66373"/>
                <a:gd name="connsiteX5" fmla="*/ 47458 w 47457"/>
                <a:gd name="connsiteY5" fmla="*/ 11716 h 66373"/>
                <a:gd name="connsiteX6" fmla="*/ 43681 w 47457"/>
                <a:gd name="connsiteY6" fmla="*/ 11716 h 66373"/>
                <a:gd name="connsiteX7" fmla="*/ 11721 w 47457"/>
                <a:gd name="connsiteY7" fmla="*/ 28547 h 66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457" h="66373">
                  <a:moveTo>
                    <a:pt x="11721" y="66373"/>
                  </a:moveTo>
                  <a:lnTo>
                    <a:pt x="0" y="66373"/>
                  </a:lnTo>
                  <a:lnTo>
                    <a:pt x="0" y="28552"/>
                  </a:lnTo>
                  <a:cubicBezTo>
                    <a:pt x="0" y="11121"/>
                    <a:pt x="28687" y="0"/>
                    <a:pt x="43681" y="0"/>
                  </a:cubicBezTo>
                  <a:lnTo>
                    <a:pt x="47458" y="0"/>
                  </a:lnTo>
                  <a:lnTo>
                    <a:pt x="47458" y="11716"/>
                  </a:lnTo>
                  <a:lnTo>
                    <a:pt x="43681" y="11716"/>
                  </a:lnTo>
                  <a:cubicBezTo>
                    <a:pt x="31821" y="11716"/>
                    <a:pt x="11721" y="21283"/>
                    <a:pt x="11721" y="28547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</p:grpSp>
      <p:grpSp>
        <p:nvGrpSpPr>
          <p:cNvPr id="54" name="Gruppieren 53"/>
          <p:cNvGrpSpPr/>
          <p:nvPr/>
        </p:nvGrpSpPr>
        <p:grpSpPr>
          <a:xfrm>
            <a:off x="7875144" y="3278616"/>
            <a:ext cx="479852" cy="178421"/>
            <a:chOff x="3716777" y="1298527"/>
            <a:chExt cx="360000" cy="133857"/>
          </a:xfrm>
        </p:grpSpPr>
        <p:cxnSp>
          <p:nvCxnSpPr>
            <p:cNvPr id="55" name="Gerade Verbindung mit Pfeil 54">
              <a:extLst>
                <a:ext uri="{FF2B5EF4-FFF2-40B4-BE49-F238E27FC236}">
                  <a16:creationId xmlns:a16="http://schemas.microsoft.com/office/drawing/2014/main" id="{FA0A0170-C11C-9E4C-A41A-8FC52913BD35}"/>
                </a:ext>
              </a:extLst>
            </p:cNvPr>
            <p:cNvCxnSpPr/>
            <p:nvPr/>
          </p:nvCxnSpPr>
          <p:spPr>
            <a:xfrm>
              <a:off x="3716777" y="1430893"/>
              <a:ext cx="360000" cy="1491"/>
            </a:xfrm>
            <a:prstGeom prst="straightConnector1">
              <a:avLst/>
            </a:prstGeom>
            <a:ln w="9525">
              <a:solidFill>
                <a:srgbClr val="0061A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mit Pfeil 55">
              <a:extLst>
                <a:ext uri="{FF2B5EF4-FFF2-40B4-BE49-F238E27FC236}">
                  <a16:creationId xmlns:a16="http://schemas.microsoft.com/office/drawing/2014/main" id="{FA0A0170-C11C-9E4C-A41A-8FC52913BD35}"/>
                </a:ext>
              </a:extLst>
            </p:cNvPr>
            <p:cNvCxnSpPr/>
            <p:nvPr/>
          </p:nvCxnSpPr>
          <p:spPr>
            <a:xfrm rot="10800000">
              <a:off x="3716777" y="1298527"/>
              <a:ext cx="360000" cy="1491"/>
            </a:xfrm>
            <a:prstGeom prst="straightConnector1">
              <a:avLst/>
            </a:prstGeom>
            <a:ln w="9525">
              <a:solidFill>
                <a:srgbClr val="0061A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Gruppieren 56"/>
          <p:cNvGrpSpPr/>
          <p:nvPr/>
        </p:nvGrpSpPr>
        <p:grpSpPr>
          <a:xfrm>
            <a:off x="7875144" y="4080273"/>
            <a:ext cx="479852" cy="178421"/>
            <a:chOff x="3716777" y="1298527"/>
            <a:chExt cx="360000" cy="133857"/>
          </a:xfrm>
        </p:grpSpPr>
        <p:cxnSp>
          <p:nvCxnSpPr>
            <p:cNvPr id="58" name="Gerade Verbindung mit Pfeil 57">
              <a:extLst>
                <a:ext uri="{FF2B5EF4-FFF2-40B4-BE49-F238E27FC236}">
                  <a16:creationId xmlns:a16="http://schemas.microsoft.com/office/drawing/2014/main" id="{FA0A0170-C11C-9E4C-A41A-8FC52913BD35}"/>
                </a:ext>
              </a:extLst>
            </p:cNvPr>
            <p:cNvCxnSpPr/>
            <p:nvPr/>
          </p:nvCxnSpPr>
          <p:spPr>
            <a:xfrm>
              <a:off x="3716777" y="1430893"/>
              <a:ext cx="360000" cy="1491"/>
            </a:xfrm>
            <a:prstGeom prst="straightConnector1">
              <a:avLst/>
            </a:prstGeom>
            <a:ln w="9525">
              <a:solidFill>
                <a:srgbClr val="0061A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mit Pfeil 58">
              <a:extLst>
                <a:ext uri="{FF2B5EF4-FFF2-40B4-BE49-F238E27FC236}">
                  <a16:creationId xmlns:a16="http://schemas.microsoft.com/office/drawing/2014/main" id="{FA0A0170-C11C-9E4C-A41A-8FC52913BD35}"/>
                </a:ext>
              </a:extLst>
            </p:cNvPr>
            <p:cNvCxnSpPr/>
            <p:nvPr/>
          </p:nvCxnSpPr>
          <p:spPr>
            <a:xfrm rot="10800000">
              <a:off x="3716777" y="1298527"/>
              <a:ext cx="360000" cy="1491"/>
            </a:xfrm>
            <a:prstGeom prst="straightConnector1">
              <a:avLst/>
            </a:prstGeom>
            <a:ln w="9525">
              <a:solidFill>
                <a:srgbClr val="0061A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" name="Gruppieren 59"/>
          <p:cNvGrpSpPr/>
          <p:nvPr/>
        </p:nvGrpSpPr>
        <p:grpSpPr>
          <a:xfrm>
            <a:off x="7871898" y="4891784"/>
            <a:ext cx="479852" cy="178421"/>
            <a:chOff x="3716777" y="1298527"/>
            <a:chExt cx="360000" cy="133857"/>
          </a:xfrm>
        </p:grpSpPr>
        <p:cxnSp>
          <p:nvCxnSpPr>
            <p:cNvPr id="61" name="Gerade Verbindung mit Pfeil 60">
              <a:extLst>
                <a:ext uri="{FF2B5EF4-FFF2-40B4-BE49-F238E27FC236}">
                  <a16:creationId xmlns:a16="http://schemas.microsoft.com/office/drawing/2014/main" id="{FA0A0170-C11C-9E4C-A41A-8FC52913BD35}"/>
                </a:ext>
              </a:extLst>
            </p:cNvPr>
            <p:cNvCxnSpPr/>
            <p:nvPr/>
          </p:nvCxnSpPr>
          <p:spPr>
            <a:xfrm>
              <a:off x="3716777" y="1430893"/>
              <a:ext cx="360000" cy="1491"/>
            </a:xfrm>
            <a:prstGeom prst="straightConnector1">
              <a:avLst/>
            </a:prstGeom>
            <a:ln w="9525">
              <a:solidFill>
                <a:srgbClr val="0061A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mit Pfeil 61">
              <a:extLst>
                <a:ext uri="{FF2B5EF4-FFF2-40B4-BE49-F238E27FC236}">
                  <a16:creationId xmlns:a16="http://schemas.microsoft.com/office/drawing/2014/main" id="{FA0A0170-C11C-9E4C-A41A-8FC52913BD35}"/>
                </a:ext>
              </a:extLst>
            </p:cNvPr>
            <p:cNvCxnSpPr/>
            <p:nvPr/>
          </p:nvCxnSpPr>
          <p:spPr>
            <a:xfrm rot="10800000">
              <a:off x="3716777" y="1298527"/>
              <a:ext cx="360000" cy="1491"/>
            </a:xfrm>
            <a:prstGeom prst="straightConnector1">
              <a:avLst/>
            </a:prstGeom>
            <a:ln w="9525">
              <a:solidFill>
                <a:srgbClr val="0061A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Gruppieren 62"/>
          <p:cNvGrpSpPr/>
          <p:nvPr/>
        </p:nvGrpSpPr>
        <p:grpSpPr>
          <a:xfrm>
            <a:off x="7871474" y="5644063"/>
            <a:ext cx="479852" cy="178421"/>
            <a:chOff x="3716777" y="1298527"/>
            <a:chExt cx="360000" cy="133857"/>
          </a:xfrm>
        </p:grpSpPr>
        <p:cxnSp>
          <p:nvCxnSpPr>
            <p:cNvPr id="64" name="Gerade Verbindung mit Pfeil 63">
              <a:extLst>
                <a:ext uri="{FF2B5EF4-FFF2-40B4-BE49-F238E27FC236}">
                  <a16:creationId xmlns:a16="http://schemas.microsoft.com/office/drawing/2014/main" id="{FA0A0170-C11C-9E4C-A41A-8FC52913BD35}"/>
                </a:ext>
              </a:extLst>
            </p:cNvPr>
            <p:cNvCxnSpPr/>
            <p:nvPr/>
          </p:nvCxnSpPr>
          <p:spPr>
            <a:xfrm>
              <a:off x="3716777" y="1430893"/>
              <a:ext cx="360000" cy="1491"/>
            </a:xfrm>
            <a:prstGeom prst="straightConnector1">
              <a:avLst/>
            </a:prstGeom>
            <a:ln w="9525">
              <a:solidFill>
                <a:srgbClr val="0061A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mit Pfeil 64">
              <a:extLst>
                <a:ext uri="{FF2B5EF4-FFF2-40B4-BE49-F238E27FC236}">
                  <a16:creationId xmlns:a16="http://schemas.microsoft.com/office/drawing/2014/main" id="{FA0A0170-C11C-9E4C-A41A-8FC52913BD35}"/>
                </a:ext>
              </a:extLst>
            </p:cNvPr>
            <p:cNvCxnSpPr/>
            <p:nvPr/>
          </p:nvCxnSpPr>
          <p:spPr>
            <a:xfrm rot="10800000">
              <a:off x="3716777" y="1298527"/>
              <a:ext cx="360000" cy="1491"/>
            </a:xfrm>
            <a:prstGeom prst="straightConnector1">
              <a:avLst/>
            </a:prstGeom>
            <a:ln w="9525">
              <a:solidFill>
                <a:srgbClr val="0061A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0" name="Gruppieren 79"/>
          <p:cNvGrpSpPr/>
          <p:nvPr/>
        </p:nvGrpSpPr>
        <p:grpSpPr>
          <a:xfrm>
            <a:off x="8724607" y="3800433"/>
            <a:ext cx="648000" cy="648000"/>
            <a:chOff x="9216139" y="2873822"/>
            <a:chExt cx="648000" cy="648000"/>
          </a:xfrm>
        </p:grpSpPr>
        <p:sp>
          <p:nvSpPr>
            <p:cNvPr id="81" name="Freeform: Shape 380">
              <a:extLst>
                <a:ext uri="{FF2B5EF4-FFF2-40B4-BE49-F238E27FC236}">
                  <a16:creationId xmlns:a16="http://schemas.microsoft.com/office/drawing/2014/main" id="{832FD4CD-81B1-424E-9309-E03B59C22A80}"/>
                </a:ext>
              </a:extLst>
            </p:cNvPr>
            <p:cNvSpPr/>
            <p:nvPr/>
          </p:nvSpPr>
          <p:spPr>
            <a:xfrm>
              <a:off x="9216139" y="2873822"/>
              <a:ext cx="648000" cy="648000"/>
            </a:xfrm>
            <a:custGeom>
              <a:avLst/>
              <a:gdLst>
                <a:gd name="connsiteX0" fmla="*/ 0 w 306268"/>
                <a:gd name="connsiteY0" fmla="*/ 0 h 306268"/>
                <a:gd name="connsiteX1" fmla="*/ 306269 w 306268"/>
                <a:gd name="connsiteY1" fmla="*/ 0 h 306268"/>
                <a:gd name="connsiteX2" fmla="*/ 306269 w 306268"/>
                <a:gd name="connsiteY2" fmla="*/ 306269 h 306268"/>
                <a:gd name="connsiteX3" fmla="*/ 0 w 306268"/>
                <a:gd name="connsiteY3" fmla="*/ 306269 h 3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268" h="306268">
                  <a:moveTo>
                    <a:pt x="0" y="0"/>
                  </a:moveTo>
                  <a:lnTo>
                    <a:pt x="306269" y="0"/>
                  </a:lnTo>
                  <a:lnTo>
                    <a:pt x="306269" y="306269"/>
                  </a:lnTo>
                  <a:lnTo>
                    <a:pt x="0" y="306269"/>
                  </a:lnTo>
                  <a:close/>
                </a:path>
              </a:pathLst>
            </a:custGeom>
            <a:noFill/>
            <a:ln w="19050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82" name="Freeform: Shape 381">
              <a:extLst>
                <a:ext uri="{FF2B5EF4-FFF2-40B4-BE49-F238E27FC236}">
                  <a16:creationId xmlns:a16="http://schemas.microsoft.com/office/drawing/2014/main" id="{1017F872-609E-46C2-93BF-FBD5A37C7B90}"/>
                </a:ext>
              </a:extLst>
            </p:cNvPr>
            <p:cNvSpPr/>
            <p:nvPr/>
          </p:nvSpPr>
          <p:spPr>
            <a:xfrm>
              <a:off x="9439721" y="3169425"/>
              <a:ext cx="200842" cy="164448"/>
            </a:xfrm>
            <a:custGeom>
              <a:avLst/>
              <a:gdLst>
                <a:gd name="connsiteX0" fmla="*/ 94925 w 94925"/>
                <a:gd name="connsiteY0" fmla="*/ 77725 h 77724"/>
                <a:gd name="connsiteX1" fmla="*/ 83204 w 94925"/>
                <a:gd name="connsiteY1" fmla="*/ 77725 h 77724"/>
                <a:gd name="connsiteX2" fmla="*/ 83204 w 94925"/>
                <a:gd name="connsiteY2" fmla="*/ 28551 h 77724"/>
                <a:gd name="connsiteX3" fmla="*/ 47458 w 94925"/>
                <a:gd name="connsiteY3" fmla="*/ 11720 h 77724"/>
                <a:gd name="connsiteX4" fmla="*/ 11720 w 94925"/>
                <a:gd name="connsiteY4" fmla="*/ 28551 h 77724"/>
                <a:gd name="connsiteX5" fmla="*/ 11720 w 94925"/>
                <a:gd name="connsiteY5" fmla="*/ 77725 h 77724"/>
                <a:gd name="connsiteX6" fmla="*/ 0 w 94925"/>
                <a:gd name="connsiteY6" fmla="*/ 77725 h 77724"/>
                <a:gd name="connsiteX7" fmla="*/ 0 w 94925"/>
                <a:gd name="connsiteY7" fmla="*/ 28551 h 77724"/>
                <a:gd name="connsiteX8" fmla="*/ 47458 w 94925"/>
                <a:gd name="connsiteY8" fmla="*/ 0 h 77724"/>
                <a:gd name="connsiteX9" fmla="*/ 94925 w 94925"/>
                <a:gd name="connsiteY9" fmla="*/ 28551 h 77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925" h="77724">
                  <a:moveTo>
                    <a:pt x="94925" y="77725"/>
                  </a:moveTo>
                  <a:lnTo>
                    <a:pt x="83204" y="77725"/>
                  </a:lnTo>
                  <a:lnTo>
                    <a:pt x="83204" y="28551"/>
                  </a:lnTo>
                  <a:cubicBezTo>
                    <a:pt x="83204" y="20910"/>
                    <a:pt x="61252" y="11720"/>
                    <a:pt x="47458" y="11720"/>
                  </a:cubicBezTo>
                  <a:cubicBezTo>
                    <a:pt x="33664" y="11720"/>
                    <a:pt x="11720" y="20910"/>
                    <a:pt x="11720" y="28551"/>
                  </a:cubicBezTo>
                  <a:lnTo>
                    <a:pt x="11720" y="77725"/>
                  </a:lnTo>
                  <a:lnTo>
                    <a:pt x="0" y="77725"/>
                  </a:lnTo>
                  <a:lnTo>
                    <a:pt x="0" y="28551"/>
                  </a:lnTo>
                  <a:cubicBezTo>
                    <a:pt x="0" y="10078"/>
                    <a:pt x="31346" y="0"/>
                    <a:pt x="47458" y="0"/>
                  </a:cubicBezTo>
                  <a:cubicBezTo>
                    <a:pt x="63569" y="0"/>
                    <a:pt x="94925" y="10078"/>
                    <a:pt x="94925" y="28551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83" name="Freeform: Shape 386">
              <a:extLst>
                <a:ext uri="{FF2B5EF4-FFF2-40B4-BE49-F238E27FC236}">
                  <a16:creationId xmlns:a16="http://schemas.microsoft.com/office/drawing/2014/main" id="{F64A1C8D-F2B2-4BEE-B717-00D8222D4ECA}"/>
                </a:ext>
              </a:extLst>
            </p:cNvPr>
            <p:cNvSpPr/>
            <p:nvPr/>
          </p:nvSpPr>
          <p:spPr>
            <a:xfrm>
              <a:off x="9375689" y="3065715"/>
              <a:ext cx="104841" cy="120518"/>
            </a:xfrm>
            <a:custGeom>
              <a:avLst/>
              <a:gdLst>
                <a:gd name="connsiteX0" fmla="*/ 24777 w 49552"/>
                <a:gd name="connsiteY0" fmla="*/ 56956 h 56961"/>
                <a:gd name="connsiteX1" fmla="*/ 6 w 49552"/>
                <a:gd name="connsiteY1" fmla="*/ 33281 h 56961"/>
                <a:gd name="connsiteX2" fmla="*/ 6 w 49552"/>
                <a:gd name="connsiteY2" fmla="*/ 32185 h 56961"/>
                <a:gd name="connsiteX3" fmla="*/ 6 w 49552"/>
                <a:gd name="connsiteY3" fmla="*/ 24617 h 56961"/>
                <a:gd name="connsiteX4" fmla="*/ 24930 w 49552"/>
                <a:gd name="connsiteY4" fmla="*/ 0 h 56961"/>
                <a:gd name="connsiteX5" fmla="*/ 49546 w 49552"/>
                <a:gd name="connsiteY5" fmla="*/ 24617 h 56961"/>
                <a:gd name="connsiteX6" fmla="*/ 49546 w 49552"/>
                <a:gd name="connsiteY6" fmla="*/ 32185 h 56961"/>
                <a:gd name="connsiteX7" fmla="*/ 25872 w 49552"/>
                <a:gd name="connsiteY7" fmla="*/ 56956 h 56961"/>
                <a:gd name="connsiteX8" fmla="*/ 24777 w 49552"/>
                <a:gd name="connsiteY8" fmla="*/ 56956 h 56961"/>
                <a:gd name="connsiteX9" fmla="*/ 24777 w 49552"/>
                <a:gd name="connsiteY9" fmla="*/ 11567 h 56961"/>
                <a:gd name="connsiteX10" fmla="*/ 11727 w 49552"/>
                <a:gd name="connsiteY10" fmla="*/ 23466 h 56961"/>
                <a:gd name="connsiteX11" fmla="*/ 11727 w 49552"/>
                <a:gd name="connsiteY11" fmla="*/ 24616 h 56961"/>
                <a:gd name="connsiteX12" fmla="*/ 11727 w 49552"/>
                <a:gd name="connsiteY12" fmla="*/ 32184 h 56961"/>
                <a:gd name="connsiteX13" fmla="*/ 24777 w 49552"/>
                <a:gd name="connsiteY13" fmla="*/ 45233 h 56961"/>
                <a:gd name="connsiteX14" fmla="*/ 37826 w 49552"/>
                <a:gd name="connsiteY14" fmla="*/ 32184 h 56961"/>
                <a:gd name="connsiteX15" fmla="*/ 37826 w 49552"/>
                <a:gd name="connsiteY15" fmla="*/ 24616 h 56961"/>
                <a:gd name="connsiteX16" fmla="*/ 25927 w 49552"/>
                <a:gd name="connsiteY16" fmla="*/ 11567 h 56961"/>
                <a:gd name="connsiteX17" fmla="*/ 24777 w 49552"/>
                <a:gd name="connsiteY17" fmla="*/ 11567 h 56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552" h="56961">
                  <a:moveTo>
                    <a:pt x="24777" y="56956"/>
                  </a:moveTo>
                  <a:cubicBezTo>
                    <a:pt x="11399" y="57258"/>
                    <a:pt x="309" y="46659"/>
                    <a:pt x="6" y="33281"/>
                  </a:cubicBezTo>
                  <a:cubicBezTo>
                    <a:pt x="-2" y="32916"/>
                    <a:pt x="-2" y="32550"/>
                    <a:pt x="6" y="32185"/>
                  </a:cubicBezTo>
                  <a:lnTo>
                    <a:pt x="6" y="24617"/>
                  </a:lnTo>
                  <a:cubicBezTo>
                    <a:pt x="90" y="10937"/>
                    <a:pt x="11249" y="-84"/>
                    <a:pt x="24930" y="0"/>
                  </a:cubicBezTo>
                  <a:cubicBezTo>
                    <a:pt x="38490" y="85"/>
                    <a:pt x="49462" y="11057"/>
                    <a:pt x="49546" y="24617"/>
                  </a:cubicBezTo>
                  <a:lnTo>
                    <a:pt x="49546" y="32185"/>
                  </a:lnTo>
                  <a:cubicBezTo>
                    <a:pt x="49849" y="45563"/>
                    <a:pt x="39250" y="56653"/>
                    <a:pt x="25872" y="56956"/>
                  </a:cubicBezTo>
                  <a:cubicBezTo>
                    <a:pt x="25507" y="56964"/>
                    <a:pt x="25142" y="56964"/>
                    <a:pt x="24777" y="56956"/>
                  </a:cubicBezTo>
                  <a:close/>
                  <a:moveTo>
                    <a:pt x="24777" y="11567"/>
                  </a:moveTo>
                  <a:cubicBezTo>
                    <a:pt x="17888" y="11249"/>
                    <a:pt x="12045" y="16577"/>
                    <a:pt x="11727" y="23466"/>
                  </a:cubicBezTo>
                  <a:cubicBezTo>
                    <a:pt x="11710" y="23849"/>
                    <a:pt x="11710" y="24233"/>
                    <a:pt x="11727" y="24616"/>
                  </a:cubicBezTo>
                  <a:lnTo>
                    <a:pt x="11727" y="32184"/>
                  </a:lnTo>
                  <a:cubicBezTo>
                    <a:pt x="11727" y="39391"/>
                    <a:pt x="17570" y="45233"/>
                    <a:pt x="24777" y="45233"/>
                  </a:cubicBezTo>
                  <a:cubicBezTo>
                    <a:pt x="31984" y="45233"/>
                    <a:pt x="37826" y="39391"/>
                    <a:pt x="37826" y="32184"/>
                  </a:cubicBezTo>
                  <a:lnTo>
                    <a:pt x="37826" y="24616"/>
                  </a:lnTo>
                  <a:cubicBezTo>
                    <a:pt x="38143" y="17727"/>
                    <a:pt x="32816" y="11885"/>
                    <a:pt x="25927" y="11567"/>
                  </a:cubicBezTo>
                  <a:cubicBezTo>
                    <a:pt x="25544" y="11549"/>
                    <a:pt x="25160" y="11549"/>
                    <a:pt x="24777" y="11567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84" name="Freeform: Shape 384">
              <a:extLst>
                <a:ext uri="{FF2B5EF4-FFF2-40B4-BE49-F238E27FC236}">
                  <a16:creationId xmlns:a16="http://schemas.microsoft.com/office/drawing/2014/main" id="{EDC1EDE1-6889-4A08-8D6F-C6D7CAB1BACB}"/>
                </a:ext>
              </a:extLst>
            </p:cNvPr>
            <p:cNvSpPr/>
            <p:nvPr/>
          </p:nvSpPr>
          <p:spPr>
            <a:xfrm>
              <a:off x="9599751" y="3065392"/>
              <a:ext cx="104845" cy="120843"/>
            </a:xfrm>
            <a:custGeom>
              <a:avLst/>
              <a:gdLst>
                <a:gd name="connsiteX0" fmla="*/ 24777 w 49553"/>
                <a:gd name="connsiteY0" fmla="*/ 57109 h 57115"/>
                <a:gd name="connsiteX1" fmla="*/ 6 w 49553"/>
                <a:gd name="connsiteY1" fmla="*/ 33433 h 57115"/>
                <a:gd name="connsiteX2" fmla="*/ 6 w 49553"/>
                <a:gd name="connsiteY2" fmla="*/ 32338 h 57115"/>
                <a:gd name="connsiteX3" fmla="*/ 6 w 49553"/>
                <a:gd name="connsiteY3" fmla="*/ 24771 h 57115"/>
                <a:gd name="connsiteX4" fmla="*/ 24776 w 49553"/>
                <a:gd name="connsiteY4" fmla="*/ 0 h 57115"/>
                <a:gd name="connsiteX5" fmla="*/ 49547 w 49553"/>
                <a:gd name="connsiteY5" fmla="*/ 24771 h 57115"/>
                <a:gd name="connsiteX6" fmla="*/ 49547 w 49553"/>
                <a:gd name="connsiteY6" fmla="*/ 32338 h 57115"/>
                <a:gd name="connsiteX7" fmla="*/ 25871 w 49553"/>
                <a:gd name="connsiteY7" fmla="*/ 57109 h 57115"/>
                <a:gd name="connsiteX8" fmla="*/ 24777 w 49553"/>
                <a:gd name="connsiteY8" fmla="*/ 57109 h 57115"/>
                <a:gd name="connsiteX9" fmla="*/ 24777 w 49553"/>
                <a:gd name="connsiteY9" fmla="*/ 11721 h 57115"/>
                <a:gd name="connsiteX10" fmla="*/ 11727 w 49553"/>
                <a:gd name="connsiteY10" fmla="*/ 23619 h 57115"/>
                <a:gd name="connsiteX11" fmla="*/ 11727 w 49553"/>
                <a:gd name="connsiteY11" fmla="*/ 24770 h 57115"/>
                <a:gd name="connsiteX12" fmla="*/ 11727 w 49553"/>
                <a:gd name="connsiteY12" fmla="*/ 32337 h 57115"/>
                <a:gd name="connsiteX13" fmla="*/ 24777 w 49553"/>
                <a:gd name="connsiteY13" fmla="*/ 45387 h 57115"/>
                <a:gd name="connsiteX14" fmla="*/ 37826 w 49553"/>
                <a:gd name="connsiteY14" fmla="*/ 32337 h 57115"/>
                <a:gd name="connsiteX15" fmla="*/ 37826 w 49553"/>
                <a:gd name="connsiteY15" fmla="*/ 24770 h 57115"/>
                <a:gd name="connsiteX16" fmla="*/ 25929 w 49553"/>
                <a:gd name="connsiteY16" fmla="*/ 11721 h 57115"/>
                <a:gd name="connsiteX17" fmla="*/ 24777 w 49553"/>
                <a:gd name="connsiteY17" fmla="*/ 11721 h 57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553" h="57115">
                  <a:moveTo>
                    <a:pt x="24777" y="57109"/>
                  </a:moveTo>
                  <a:cubicBezTo>
                    <a:pt x="11398" y="57411"/>
                    <a:pt x="308" y="46811"/>
                    <a:pt x="6" y="33433"/>
                  </a:cubicBezTo>
                  <a:cubicBezTo>
                    <a:pt x="-2" y="33068"/>
                    <a:pt x="-2" y="32703"/>
                    <a:pt x="6" y="32338"/>
                  </a:cubicBezTo>
                  <a:lnTo>
                    <a:pt x="6" y="24771"/>
                  </a:lnTo>
                  <a:cubicBezTo>
                    <a:pt x="6" y="11090"/>
                    <a:pt x="11096" y="0"/>
                    <a:pt x="24776" y="0"/>
                  </a:cubicBezTo>
                  <a:cubicBezTo>
                    <a:pt x="38457" y="0"/>
                    <a:pt x="49547" y="11090"/>
                    <a:pt x="49547" y="24771"/>
                  </a:cubicBezTo>
                  <a:lnTo>
                    <a:pt x="49547" y="32338"/>
                  </a:lnTo>
                  <a:cubicBezTo>
                    <a:pt x="49850" y="45717"/>
                    <a:pt x="39249" y="56807"/>
                    <a:pt x="25871" y="57109"/>
                  </a:cubicBezTo>
                  <a:cubicBezTo>
                    <a:pt x="25506" y="57117"/>
                    <a:pt x="25141" y="57117"/>
                    <a:pt x="24777" y="57109"/>
                  </a:cubicBezTo>
                  <a:close/>
                  <a:moveTo>
                    <a:pt x="24777" y="11721"/>
                  </a:moveTo>
                  <a:cubicBezTo>
                    <a:pt x="17888" y="11403"/>
                    <a:pt x="12045" y="16730"/>
                    <a:pt x="11727" y="23619"/>
                  </a:cubicBezTo>
                  <a:cubicBezTo>
                    <a:pt x="11710" y="24003"/>
                    <a:pt x="11710" y="24387"/>
                    <a:pt x="11727" y="24770"/>
                  </a:cubicBezTo>
                  <a:lnTo>
                    <a:pt x="11727" y="32337"/>
                  </a:lnTo>
                  <a:cubicBezTo>
                    <a:pt x="11727" y="39544"/>
                    <a:pt x="17570" y="45387"/>
                    <a:pt x="24777" y="45387"/>
                  </a:cubicBezTo>
                  <a:cubicBezTo>
                    <a:pt x="31984" y="45387"/>
                    <a:pt x="37826" y="39544"/>
                    <a:pt x="37826" y="32337"/>
                  </a:cubicBezTo>
                  <a:lnTo>
                    <a:pt x="37826" y="24770"/>
                  </a:lnTo>
                  <a:cubicBezTo>
                    <a:pt x="38144" y="17881"/>
                    <a:pt x="32817" y="12039"/>
                    <a:pt x="25929" y="11721"/>
                  </a:cubicBezTo>
                  <a:cubicBezTo>
                    <a:pt x="25545" y="11703"/>
                    <a:pt x="25160" y="11703"/>
                    <a:pt x="24777" y="11721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85" name="Freeform: Shape 382">
              <a:extLst>
                <a:ext uri="{FF2B5EF4-FFF2-40B4-BE49-F238E27FC236}">
                  <a16:creationId xmlns:a16="http://schemas.microsoft.com/office/drawing/2014/main" id="{21EC762B-F8D2-49B2-BF25-C6626771EE29}"/>
                </a:ext>
              </a:extLst>
            </p:cNvPr>
            <p:cNvSpPr/>
            <p:nvPr/>
          </p:nvSpPr>
          <p:spPr>
            <a:xfrm>
              <a:off x="9487712" y="3049065"/>
              <a:ext cx="104841" cy="121157"/>
            </a:xfrm>
            <a:custGeom>
              <a:avLst/>
              <a:gdLst>
                <a:gd name="connsiteX0" fmla="*/ 24777 w 49552"/>
                <a:gd name="connsiteY0" fmla="*/ 57257 h 57263"/>
                <a:gd name="connsiteX1" fmla="*/ 6 w 49552"/>
                <a:gd name="connsiteY1" fmla="*/ 33585 h 57263"/>
                <a:gd name="connsiteX2" fmla="*/ 6 w 49552"/>
                <a:gd name="connsiteY2" fmla="*/ 32486 h 57263"/>
                <a:gd name="connsiteX3" fmla="*/ 6 w 49552"/>
                <a:gd name="connsiteY3" fmla="*/ 24924 h 57263"/>
                <a:gd name="connsiteX4" fmla="*/ 24623 w 49552"/>
                <a:gd name="connsiteY4" fmla="*/ 0 h 57263"/>
                <a:gd name="connsiteX5" fmla="*/ 49547 w 49552"/>
                <a:gd name="connsiteY5" fmla="*/ 24617 h 57263"/>
                <a:gd name="connsiteX6" fmla="*/ 49547 w 49552"/>
                <a:gd name="connsiteY6" fmla="*/ 24924 h 57263"/>
                <a:gd name="connsiteX7" fmla="*/ 49546 w 49552"/>
                <a:gd name="connsiteY7" fmla="*/ 32486 h 57263"/>
                <a:gd name="connsiteX8" fmla="*/ 25874 w 49552"/>
                <a:gd name="connsiteY8" fmla="*/ 57257 h 57263"/>
                <a:gd name="connsiteX9" fmla="*/ 24776 w 49552"/>
                <a:gd name="connsiteY9" fmla="*/ 57257 h 57263"/>
                <a:gd name="connsiteX10" fmla="*/ 24777 w 49552"/>
                <a:gd name="connsiteY10" fmla="*/ 11874 h 57263"/>
                <a:gd name="connsiteX11" fmla="*/ 11727 w 49552"/>
                <a:gd name="connsiteY11" fmla="*/ 23773 h 57263"/>
                <a:gd name="connsiteX12" fmla="*/ 11727 w 49552"/>
                <a:gd name="connsiteY12" fmla="*/ 24923 h 57263"/>
                <a:gd name="connsiteX13" fmla="*/ 11727 w 49552"/>
                <a:gd name="connsiteY13" fmla="*/ 32485 h 57263"/>
                <a:gd name="connsiteX14" fmla="*/ 24777 w 49552"/>
                <a:gd name="connsiteY14" fmla="*/ 45535 h 57263"/>
                <a:gd name="connsiteX15" fmla="*/ 37826 w 49552"/>
                <a:gd name="connsiteY15" fmla="*/ 32485 h 57263"/>
                <a:gd name="connsiteX16" fmla="*/ 37826 w 49552"/>
                <a:gd name="connsiteY16" fmla="*/ 24923 h 57263"/>
                <a:gd name="connsiteX17" fmla="*/ 25927 w 49552"/>
                <a:gd name="connsiteY17" fmla="*/ 11874 h 57263"/>
                <a:gd name="connsiteX18" fmla="*/ 24777 w 49552"/>
                <a:gd name="connsiteY18" fmla="*/ 11874 h 57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9552" h="57263">
                  <a:moveTo>
                    <a:pt x="24777" y="57257"/>
                  </a:moveTo>
                  <a:cubicBezTo>
                    <a:pt x="11400" y="57560"/>
                    <a:pt x="309" y="46962"/>
                    <a:pt x="6" y="33585"/>
                  </a:cubicBezTo>
                  <a:cubicBezTo>
                    <a:pt x="-2" y="33219"/>
                    <a:pt x="-2" y="32852"/>
                    <a:pt x="6" y="32486"/>
                  </a:cubicBezTo>
                  <a:lnTo>
                    <a:pt x="6" y="24924"/>
                  </a:lnTo>
                  <a:cubicBezTo>
                    <a:pt x="-79" y="11244"/>
                    <a:pt x="10943" y="85"/>
                    <a:pt x="24623" y="0"/>
                  </a:cubicBezTo>
                  <a:cubicBezTo>
                    <a:pt x="38303" y="-84"/>
                    <a:pt x="49462" y="10937"/>
                    <a:pt x="49547" y="24617"/>
                  </a:cubicBezTo>
                  <a:cubicBezTo>
                    <a:pt x="49547" y="24720"/>
                    <a:pt x="49547" y="24822"/>
                    <a:pt x="49547" y="24924"/>
                  </a:cubicBezTo>
                  <a:lnTo>
                    <a:pt x="49546" y="32486"/>
                  </a:lnTo>
                  <a:cubicBezTo>
                    <a:pt x="49850" y="45863"/>
                    <a:pt x="39251" y="56954"/>
                    <a:pt x="25874" y="57257"/>
                  </a:cubicBezTo>
                  <a:cubicBezTo>
                    <a:pt x="25508" y="57265"/>
                    <a:pt x="25142" y="57265"/>
                    <a:pt x="24776" y="57257"/>
                  </a:cubicBezTo>
                  <a:close/>
                  <a:moveTo>
                    <a:pt x="24777" y="11874"/>
                  </a:moveTo>
                  <a:cubicBezTo>
                    <a:pt x="17888" y="11556"/>
                    <a:pt x="12045" y="16884"/>
                    <a:pt x="11727" y="23773"/>
                  </a:cubicBezTo>
                  <a:cubicBezTo>
                    <a:pt x="11710" y="24156"/>
                    <a:pt x="11710" y="24540"/>
                    <a:pt x="11727" y="24923"/>
                  </a:cubicBezTo>
                  <a:lnTo>
                    <a:pt x="11727" y="32485"/>
                  </a:lnTo>
                  <a:cubicBezTo>
                    <a:pt x="11727" y="39692"/>
                    <a:pt x="17570" y="45535"/>
                    <a:pt x="24777" y="45535"/>
                  </a:cubicBezTo>
                  <a:cubicBezTo>
                    <a:pt x="31984" y="45535"/>
                    <a:pt x="37826" y="39692"/>
                    <a:pt x="37826" y="32485"/>
                  </a:cubicBezTo>
                  <a:lnTo>
                    <a:pt x="37826" y="24923"/>
                  </a:lnTo>
                  <a:cubicBezTo>
                    <a:pt x="38143" y="18034"/>
                    <a:pt x="32816" y="12192"/>
                    <a:pt x="25927" y="11874"/>
                  </a:cubicBezTo>
                  <a:cubicBezTo>
                    <a:pt x="25544" y="11856"/>
                    <a:pt x="25160" y="11856"/>
                    <a:pt x="24777" y="11874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86" name="Freeform: Shape 383">
              <a:extLst>
                <a:ext uri="{FF2B5EF4-FFF2-40B4-BE49-F238E27FC236}">
                  <a16:creationId xmlns:a16="http://schemas.microsoft.com/office/drawing/2014/main" id="{30220621-427A-46A7-AEF1-E7DC22B439B3}"/>
                </a:ext>
              </a:extLst>
            </p:cNvPr>
            <p:cNvSpPr/>
            <p:nvPr/>
          </p:nvSpPr>
          <p:spPr>
            <a:xfrm>
              <a:off x="9636157" y="3185433"/>
              <a:ext cx="100428" cy="140422"/>
            </a:xfrm>
            <a:custGeom>
              <a:avLst/>
              <a:gdLst>
                <a:gd name="connsiteX0" fmla="*/ 47465 w 47466"/>
                <a:gd name="connsiteY0" fmla="*/ 66368 h 66368"/>
                <a:gd name="connsiteX1" fmla="*/ 35745 w 47466"/>
                <a:gd name="connsiteY1" fmla="*/ 66368 h 66368"/>
                <a:gd name="connsiteX2" fmla="*/ 35745 w 47466"/>
                <a:gd name="connsiteY2" fmla="*/ 28547 h 66368"/>
                <a:gd name="connsiteX3" fmla="*/ 3785 w 47466"/>
                <a:gd name="connsiteY3" fmla="*/ 11716 h 66368"/>
                <a:gd name="connsiteX4" fmla="*/ 0 w 47466"/>
                <a:gd name="connsiteY4" fmla="*/ 11716 h 66368"/>
                <a:gd name="connsiteX5" fmla="*/ 0 w 47466"/>
                <a:gd name="connsiteY5" fmla="*/ 0 h 66368"/>
                <a:gd name="connsiteX6" fmla="*/ 3786 w 47466"/>
                <a:gd name="connsiteY6" fmla="*/ 0 h 66368"/>
                <a:gd name="connsiteX7" fmla="*/ 47467 w 47466"/>
                <a:gd name="connsiteY7" fmla="*/ 28552 h 66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466" h="66368">
                  <a:moveTo>
                    <a:pt x="47465" y="66368"/>
                  </a:moveTo>
                  <a:lnTo>
                    <a:pt x="35745" y="66368"/>
                  </a:lnTo>
                  <a:lnTo>
                    <a:pt x="35745" y="28547"/>
                  </a:lnTo>
                  <a:cubicBezTo>
                    <a:pt x="35745" y="21283"/>
                    <a:pt x="15647" y="11716"/>
                    <a:pt x="3785" y="11716"/>
                  </a:cubicBezTo>
                  <a:lnTo>
                    <a:pt x="0" y="11716"/>
                  </a:lnTo>
                  <a:lnTo>
                    <a:pt x="0" y="0"/>
                  </a:lnTo>
                  <a:lnTo>
                    <a:pt x="3786" y="0"/>
                  </a:lnTo>
                  <a:cubicBezTo>
                    <a:pt x="18781" y="0"/>
                    <a:pt x="47467" y="11120"/>
                    <a:pt x="47467" y="28552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87" name="Freeform: Shape 385">
              <a:extLst>
                <a:ext uri="{FF2B5EF4-FFF2-40B4-BE49-F238E27FC236}">
                  <a16:creationId xmlns:a16="http://schemas.microsoft.com/office/drawing/2014/main" id="{A899EE9E-B096-4E0C-8665-B90651F4F604}"/>
                </a:ext>
              </a:extLst>
            </p:cNvPr>
            <p:cNvSpPr/>
            <p:nvPr/>
          </p:nvSpPr>
          <p:spPr>
            <a:xfrm>
              <a:off x="9343701" y="3185423"/>
              <a:ext cx="100409" cy="140431"/>
            </a:xfrm>
            <a:custGeom>
              <a:avLst/>
              <a:gdLst>
                <a:gd name="connsiteX0" fmla="*/ 11721 w 47457"/>
                <a:gd name="connsiteY0" fmla="*/ 66373 h 66373"/>
                <a:gd name="connsiteX1" fmla="*/ 0 w 47457"/>
                <a:gd name="connsiteY1" fmla="*/ 66373 h 66373"/>
                <a:gd name="connsiteX2" fmla="*/ 0 w 47457"/>
                <a:gd name="connsiteY2" fmla="*/ 28552 h 66373"/>
                <a:gd name="connsiteX3" fmla="*/ 43681 w 47457"/>
                <a:gd name="connsiteY3" fmla="*/ 0 h 66373"/>
                <a:gd name="connsiteX4" fmla="*/ 47458 w 47457"/>
                <a:gd name="connsiteY4" fmla="*/ 0 h 66373"/>
                <a:gd name="connsiteX5" fmla="*/ 47458 w 47457"/>
                <a:gd name="connsiteY5" fmla="*/ 11716 h 66373"/>
                <a:gd name="connsiteX6" fmla="*/ 43681 w 47457"/>
                <a:gd name="connsiteY6" fmla="*/ 11716 h 66373"/>
                <a:gd name="connsiteX7" fmla="*/ 11721 w 47457"/>
                <a:gd name="connsiteY7" fmla="*/ 28547 h 66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457" h="66373">
                  <a:moveTo>
                    <a:pt x="11721" y="66373"/>
                  </a:moveTo>
                  <a:lnTo>
                    <a:pt x="0" y="66373"/>
                  </a:lnTo>
                  <a:lnTo>
                    <a:pt x="0" y="28552"/>
                  </a:lnTo>
                  <a:cubicBezTo>
                    <a:pt x="0" y="11121"/>
                    <a:pt x="28687" y="0"/>
                    <a:pt x="43681" y="0"/>
                  </a:cubicBezTo>
                  <a:lnTo>
                    <a:pt x="47458" y="0"/>
                  </a:lnTo>
                  <a:lnTo>
                    <a:pt x="47458" y="11716"/>
                  </a:lnTo>
                  <a:lnTo>
                    <a:pt x="43681" y="11716"/>
                  </a:lnTo>
                  <a:cubicBezTo>
                    <a:pt x="31821" y="11716"/>
                    <a:pt x="11721" y="21283"/>
                    <a:pt x="11721" y="28547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</p:grpSp>
      <p:grpSp>
        <p:nvGrpSpPr>
          <p:cNvPr id="88" name="Gruppieren 87"/>
          <p:cNvGrpSpPr/>
          <p:nvPr/>
        </p:nvGrpSpPr>
        <p:grpSpPr>
          <a:xfrm>
            <a:off x="8727462" y="4645577"/>
            <a:ext cx="648000" cy="648000"/>
            <a:chOff x="9216139" y="2873822"/>
            <a:chExt cx="648000" cy="648000"/>
          </a:xfrm>
        </p:grpSpPr>
        <p:sp>
          <p:nvSpPr>
            <p:cNvPr id="89" name="Freeform: Shape 380">
              <a:extLst>
                <a:ext uri="{FF2B5EF4-FFF2-40B4-BE49-F238E27FC236}">
                  <a16:creationId xmlns:a16="http://schemas.microsoft.com/office/drawing/2014/main" id="{832FD4CD-81B1-424E-9309-E03B59C22A80}"/>
                </a:ext>
              </a:extLst>
            </p:cNvPr>
            <p:cNvSpPr/>
            <p:nvPr/>
          </p:nvSpPr>
          <p:spPr>
            <a:xfrm>
              <a:off x="9216139" y="2873822"/>
              <a:ext cx="648000" cy="648000"/>
            </a:xfrm>
            <a:custGeom>
              <a:avLst/>
              <a:gdLst>
                <a:gd name="connsiteX0" fmla="*/ 0 w 306268"/>
                <a:gd name="connsiteY0" fmla="*/ 0 h 306268"/>
                <a:gd name="connsiteX1" fmla="*/ 306269 w 306268"/>
                <a:gd name="connsiteY1" fmla="*/ 0 h 306268"/>
                <a:gd name="connsiteX2" fmla="*/ 306269 w 306268"/>
                <a:gd name="connsiteY2" fmla="*/ 306269 h 306268"/>
                <a:gd name="connsiteX3" fmla="*/ 0 w 306268"/>
                <a:gd name="connsiteY3" fmla="*/ 306269 h 3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268" h="306268">
                  <a:moveTo>
                    <a:pt x="0" y="0"/>
                  </a:moveTo>
                  <a:lnTo>
                    <a:pt x="306269" y="0"/>
                  </a:lnTo>
                  <a:lnTo>
                    <a:pt x="306269" y="306269"/>
                  </a:lnTo>
                  <a:lnTo>
                    <a:pt x="0" y="306269"/>
                  </a:lnTo>
                  <a:close/>
                </a:path>
              </a:pathLst>
            </a:custGeom>
            <a:noFill/>
            <a:ln w="19050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90" name="Freeform: Shape 381">
              <a:extLst>
                <a:ext uri="{FF2B5EF4-FFF2-40B4-BE49-F238E27FC236}">
                  <a16:creationId xmlns:a16="http://schemas.microsoft.com/office/drawing/2014/main" id="{1017F872-609E-46C2-93BF-FBD5A37C7B90}"/>
                </a:ext>
              </a:extLst>
            </p:cNvPr>
            <p:cNvSpPr/>
            <p:nvPr/>
          </p:nvSpPr>
          <p:spPr>
            <a:xfrm>
              <a:off x="9439721" y="3169425"/>
              <a:ext cx="200842" cy="164448"/>
            </a:xfrm>
            <a:custGeom>
              <a:avLst/>
              <a:gdLst>
                <a:gd name="connsiteX0" fmla="*/ 94925 w 94925"/>
                <a:gd name="connsiteY0" fmla="*/ 77725 h 77724"/>
                <a:gd name="connsiteX1" fmla="*/ 83204 w 94925"/>
                <a:gd name="connsiteY1" fmla="*/ 77725 h 77724"/>
                <a:gd name="connsiteX2" fmla="*/ 83204 w 94925"/>
                <a:gd name="connsiteY2" fmla="*/ 28551 h 77724"/>
                <a:gd name="connsiteX3" fmla="*/ 47458 w 94925"/>
                <a:gd name="connsiteY3" fmla="*/ 11720 h 77724"/>
                <a:gd name="connsiteX4" fmla="*/ 11720 w 94925"/>
                <a:gd name="connsiteY4" fmla="*/ 28551 h 77724"/>
                <a:gd name="connsiteX5" fmla="*/ 11720 w 94925"/>
                <a:gd name="connsiteY5" fmla="*/ 77725 h 77724"/>
                <a:gd name="connsiteX6" fmla="*/ 0 w 94925"/>
                <a:gd name="connsiteY6" fmla="*/ 77725 h 77724"/>
                <a:gd name="connsiteX7" fmla="*/ 0 w 94925"/>
                <a:gd name="connsiteY7" fmla="*/ 28551 h 77724"/>
                <a:gd name="connsiteX8" fmla="*/ 47458 w 94925"/>
                <a:gd name="connsiteY8" fmla="*/ 0 h 77724"/>
                <a:gd name="connsiteX9" fmla="*/ 94925 w 94925"/>
                <a:gd name="connsiteY9" fmla="*/ 28551 h 77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925" h="77724">
                  <a:moveTo>
                    <a:pt x="94925" y="77725"/>
                  </a:moveTo>
                  <a:lnTo>
                    <a:pt x="83204" y="77725"/>
                  </a:lnTo>
                  <a:lnTo>
                    <a:pt x="83204" y="28551"/>
                  </a:lnTo>
                  <a:cubicBezTo>
                    <a:pt x="83204" y="20910"/>
                    <a:pt x="61252" y="11720"/>
                    <a:pt x="47458" y="11720"/>
                  </a:cubicBezTo>
                  <a:cubicBezTo>
                    <a:pt x="33664" y="11720"/>
                    <a:pt x="11720" y="20910"/>
                    <a:pt x="11720" y="28551"/>
                  </a:cubicBezTo>
                  <a:lnTo>
                    <a:pt x="11720" y="77725"/>
                  </a:lnTo>
                  <a:lnTo>
                    <a:pt x="0" y="77725"/>
                  </a:lnTo>
                  <a:lnTo>
                    <a:pt x="0" y="28551"/>
                  </a:lnTo>
                  <a:cubicBezTo>
                    <a:pt x="0" y="10078"/>
                    <a:pt x="31346" y="0"/>
                    <a:pt x="47458" y="0"/>
                  </a:cubicBezTo>
                  <a:cubicBezTo>
                    <a:pt x="63569" y="0"/>
                    <a:pt x="94925" y="10078"/>
                    <a:pt x="94925" y="28551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91" name="Freeform: Shape 386">
              <a:extLst>
                <a:ext uri="{FF2B5EF4-FFF2-40B4-BE49-F238E27FC236}">
                  <a16:creationId xmlns:a16="http://schemas.microsoft.com/office/drawing/2014/main" id="{F64A1C8D-F2B2-4BEE-B717-00D8222D4ECA}"/>
                </a:ext>
              </a:extLst>
            </p:cNvPr>
            <p:cNvSpPr/>
            <p:nvPr/>
          </p:nvSpPr>
          <p:spPr>
            <a:xfrm>
              <a:off x="9375689" y="3065715"/>
              <a:ext cx="104841" cy="120518"/>
            </a:xfrm>
            <a:custGeom>
              <a:avLst/>
              <a:gdLst>
                <a:gd name="connsiteX0" fmla="*/ 24777 w 49552"/>
                <a:gd name="connsiteY0" fmla="*/ 56956 h 56961"/>
                <a:gd name="connsiteX1" fmla="*/ 6 w 49552"/>
                <a:gd name="connsiteY1" fmla="*/ 33281 h 56961"/>
                <a:gd name="connsiteX2" fmla="*/ 6 w 49552"/>
                <a:gd name="connsiteY2" fmla="*/ 32185 h 56961"/>
                <a:gd name="connsiteX3" fmla="*/ 6 w 49552"/>
                <a:gd name="connsiteY3" fmla="*/ 24617 h 56961"/>
                <a:gd name="connsiteX4" fmla="*/ 24930 w 49552"/>
                <a:gd name="connsiteY4" fmla="*/ 0 h 56961"/>
                <a:gd name="connsiteX5" fmla="*/ 49546 w 49552"/>
                <a:gd name="connsiteY5" fmla="*/ 24617 h 56961"/>
                <a:gd name="connsiteX6" fmla="*/ 49546 w 49552"/>
                <a:gd name="connsiteY6" fmla="*/ 32185 h 56961"/>
                <a:gd name="connsiteX7" fmla="*/ 25872 w 49552"/>
                <a:gd name="connsiteY7" fmla="*/ 56956 h 56961"/>
                <a:gd name="connsiteX8" fmla="*/ 24777 w 49552"/>
                <a:gd name="connsiteY8" fmla="*/ 56956 h 56961"/>
                <a:gd name="connsiteX9" fmla="*/ 24777 w 49552"/>
                <a:gd name="connsiteY9" fmla="*/ 11567 h 56961"/>
                <a:gd name="connsiteX10" fmla="*/ 11727 w 49552"/>
                <a:gd name="connsiteY10" fmla="*/ 23466 h 56961"/>
                <a:gd name="connsiteX11" fmla="*/ 11727 w 49552"/>
                <a:gd name="connsiteY11" fmla="*/ 24616 h 56961"/>
                <a:gd name="connsiteX12" fmla="*/ 11727 w 49552"/>
                <a:gd name="connsiteY12" fmla="*/ 32184 h 56961"/>
                <a:gd name="connsiteX13" fmla="*/ 24777 w 49552"/>
                <a:gd name="connsiteY13" fmla="*/ 45233 h 56961"/>
                <a:gd name="connsiteX14" fmla="*/ 37826 w 49552"/>
                <a:gd name="connsiteY14" fmla="*/ 32184 h 56961"/>
                <a:gd name="connsiteX15" fmla="*/ 37826 w 49552"/>
                <a:gd name="connsiteY15" fmla="*/ 24616 h 56961"/>
                <a:gd name="connsiteX16" fmla="*/ 25927 w 49552"/>
                <a:gd name="connsiteY16" fmla="*/ 11567 h 56961"/>
                <a:gd name="connsiteX17" fmla="*/ 24777 w 49552"/>
                <a:gd name="connsiteY17" fmla="*/ 11567 h 56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552" h="56961">
                  <a:moveTo>
                    <a:pt x="24777" y="56956"/>
                  </a:moveTo>
                  <a:cubicBezTo>
                    <a:pt x="11399" y="57258"/>
                    <a:pt x="309" y="46659"/>
                    <a:pt x="6" y="33281"/>
                  </a:cubicBezTo>
                  <a:cubicBezTo>
                    <a:pt x="-2" y="32916"/>
                    <a:pt x="-2" y="32550"/>
                    <a:pt x="6" y="32185"/>
                  </a:cubicBezTo>
                  <a:lnTo>
                    <a:pt x="6" y="24617"/>
                  </a:lnTo>
                  <a:cubicBezTo>
                    <a:pt x="90" y="10937"/>
                    <a:pt x="11249" y="-84"/>
                    <a:pt x="24930" y="0"/>
                  </a:cubicBezTo>
                  <a:cubicBezTo>
                    <a:pt x="38490" y="85"/>
                    <a:pt x="49462" y="11057"/>
                    <a:pt x="49546" y="24617"/>
                  </a:cubicBezTo>
                  <a:lnTo>
                    <a:pt x="49546" y="32185"/>
                  </a:lnTo>
                  <a:cubicBezTo>
                    <a:pt x="49849" y="45563"/>
                    <a:pt x="39250" y="56653"/>
                    <a:pt x="25872" y="56956"/>
                  </a:cubicBezTo>
                  <a:cubicBezTo>
                    <a:pt x="25507" y="56964"/>
                    <a:pt x="25142" y="56964"/>
                    <a:pt x="24777" y="56956"/>
                  </a:cubicBezTo>
                  <a:close/>
                  <a:moveTo>
                    <a:pt x="24777" y="11567"/>
                  </a:moveTo>
                  <a:cubicBezTo>
                    <a:pt x="17888" y="11249"/>
                    <a:pt x="12045" y="16577"/>
                    <a:pt x="11727" y="23466"/>
                  </a:cubicBezTo>
                  <a:cubicBezTo>
                    <a:pt x="11710" y="23849"/>
                    <a:pt x="11710" y="24233"/>
                    <a:pt x="11727" y="24616"/>
                  </a:cubicBezTo>
                  <a:lnTo>
                    <a:pt x="11727" y="32184"/>
                  </a:lnTo>
                  <a:cubicBezTo>
                    <a:pt x="11727" y="39391"/>
                    <a:pt x="17570" y="45233"/>
                    <a:pt x="24777" y="45233"/>
                  </a:cubicBezTo>
                  <a:cubicBezTo>
                    <a:pt x="31984" y="45233"/>
                    <a:pt x="37826" y="39391"/>
                    <a:pt x="37826" y="32184"/>
                  </a:cubicBezTo>
                  <a:lnTo>
                    <a:pt x="37826" y="24616"/>
                  </a:lnTo>
                  <a:cubicBezTo>
                    <a:pt x="38143" y="17727"/>
                    <a:pt x="32816" y="11885"/>
                    <a:pt x="25927" y="11567"/>
                  </a:cubicBezTo>
                  <a:cubicBezTo>
                    <a:pt x="25544" y="11549"/>
                    <a:pt x="25160" y="11549"/>
                    <a:pt x="24777" y="11567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92" name="Freeform: Shape 384">
              <a:extLst>
                <a:ext uri="{FF2B5EF4-FFF2-40B4-BE49-F238E27FC236}">
                  <a16:creationId xmlns:a16="http://schemas.microsoft.com/office/drawing/2014/main" id="{EDC1EDE1-6889-4A08-8D6F-C6D7CAB1BACB}"/>
                </a:ext>
              </a:extLst>
            </p:cNvPr>
            <p:cNvSpPr/>
            <p:nvPr/>
          </p:nvSpPr>
          <p:spPr>
            <a:xfrm>
              <a:off x="9599751" y="3065392"/>
              <a:ext cx="104845" cy="120843"/>
            </a:xfrm>
            <a:custGeom>
              <a:avLst/>
              <a:gdLst>
                <a:gd name="connsiteX0" fmla="*/ 24777 w 49553"/>
                <a:gd name="connsiteY0" fmla="*/ 57109 h 57115"/>
                <a:gd name="connsiteX1" fmla="*/ 6 w 49553"/>
                <a:gd name="connsiteY1" fmla="*/ 33433 h 57115"/>
                <a:gd name="connsiteX2" fmla="*/ 6 w 49553"/>
                <a:gd name="connsiteY2" fmla="*/ 32338 h 57115"/>
                <a:gd name="connsiteX3" fmla="*/ 6 w 49553"/>
                <a:gd name="connsiteY3" fmla="*/ 24771 h 57115"/>
                <a:gd name="connsiteX4" fmla="*/ 24776 w 49553"/>
                <a:gd name="connsiteY4" fmla="*/ 0 h 57115"/>
                <a:gd name="connsiteX5" fmla="*/ 49547 w 49553"/>
                <a:gd name="connsiteY5" fmla="*/ 24771 h 57115"/>
                <a:gd name="connsiteX6" fmla="*/ 49547 w 49553"/>
                <a:gd name="connsiteY6" fmla="*/ 32338 h 57115"/>
                <a:gd name="connsiteX7" fmla="*/ 25871 w 49553"/>
                <a:gd name="connsiteY7" fmla="*/ 57109 h 57115"/>
                <a:gd name="connsiteX8" fmla="*/ 24777 w 49553"/>
                <a:gd name="connsiteY8" fmla="*/ 57109 h 57115"/>
                <a:gd name="connsiteX9" fmla="*/ 24777 w 49553"/>
                <a:gd name="connsiteY9" fmla="*/ 11721 h 57115"/>
                <a:gd name="connsiteX10" fmla="*/ 11727 w 49553"/>
                <a:gd name="connsiteY10" fmla="*/ 23619 h 57115"/>
                <a:gd name="connsiteX11" fmla="*/ 11727 w 49553"/>
                <a:gd name="connsiteY11" fmla="*/ 24770 h 57115"/>
                <a:gd name="connsiteX12" fmla="*/ 11727 w 49553"/>
                <a:gd name="connsiteY12" fmla="*/ 32337 h 57115"/>
                <a:gd name="connsiteX13" fmla="*/ 24777 w 49553"/>
                <a:gd name="connsiteY13" fmla="*/ 45387 h 57115"/>
                <a:gd name="connsiteX14" fmla="*/ 37826 w 49553"/>
                <a:gd name="connsiteY14" fmla="*/ 32337 h 57115"/>
                <a:gd name="connsiteX15" fmla="*/ 37826 w 49553"/>
                <a:gd name="connsiteY15" fmla="*/ 24770 h 57115"/>
                <a:gd name="connsiteX16" fmla="*/ 25929 w 49553"/>
                <a:gd name="connsiteY16" fmla="*/ 11721 h 57115"/>
                <a:gd name="connsiteX17" fmla="*/ 24777 w 49553"/>
                <a:gd name="connsiteY17" fmla="*/ 11721 h 57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553" h="57115">
                  <a:moveTo>
                    <a:pt x="24777" y="57109"/>
                  </a:moveTo>
                  <a:cubicBezTo>
                    <a:pt x="11398" y="57411"/>
                    <a:pt x="308" y="46811"/>
                    <a:pt x="6" y="33433"/>
                  </a:cubicBezTo>
                  <a:cubicBezTo>
                    <a:pt x="-2" y="33068"/>
                    <a:pt x="-2" y="32703"/>
                    <a:pt x="6" y="32338"/>
                  </a:cubicBezTo>
                  <a:lnTo>
                    <a:pt x="6" y="24771"/>
                  </a:lnTo>
                  <a:cubicBezTo>
                    <a:pt x="6" y="11090"/>
                    <a:pt x="11096" y="0"/>
                    <a:pt x="24776" y="0"/>
                  </a:cubicBezTo>
                  <a:cubicBezTo>
                    <a:pt x="38457" y="0"/>
                    <a:pt x="49547" y="11090"/>
                    <a:pt x="49547" y="24771"/>
                  </a:cubicBezTo>
                  <a:lnTo>
                    <a:pt x="49547" y="32338"/>
                  </a:lnTo>
                  <a:cubicBezTo>
                    <a:pt x="49850" y="45717"/>
                    <a:pt x="39249" y="56807"/>
                    <a:pt x="25871" y="57109"/>
                  </a:cubicBezTo>
                  <a:cubicBezTo>
                    <a:pt x="25506" y="57117"/>
                    <a:pt x="25141" y="57117"/>
                    <a:pt x="24777" y="57109"/>
                  </a:cubicBezTo>
                  <a:close/>
                  <a:moveTo>
                    <a:pt x="24777" y="11721"/>
                  </a:moveTo>
                  <a:cubicBezTo>
                    <a:pt x="17888" y="11403"/>
                    <a:pt x="12045" y="16730"/>
                    <a:pt x="11727" y="23619"/>
                  </a:cubicBezTo>
                  <a:cubicBezTo>
                    <a:pt x="11710" y="24003"/>
                    <a:pt x="11710" y="24387"/>
                    <a:pt x="11727" y="24770"/>
                  </a:cubicBezTo>
                  <a:lnTo>
                    <a:pt x="11727" y="32337"/>
                  </a:lnTo>
                  <a:cubicBezTo>
                    <a:pt x="11727" y="39544"/>
                    <a:pt x="17570" y="45387"/>
                    <a:pt x="24777" y="45387"/>
                  </a:cubicBezTo>
                  <a:cubicBezTo>
                    <a:pt x="31984" y="45387"/>
                    <a:pt x="37826" y="39544"/>
                    <a:pt x="37826" y="32337"/>
                  </a:cubicBezTo>
                  <a:lnTo>
                    <a:pt x="37826" y="24770"/>
                  </a:lnTo>
                  <a:cubicBezTo>
                    <a:pt x="38144" y="17881"/>
                    <a:pt x="32817" y="12039"/>
                    <a:pt x="25929" y="11721"/>
                  </a:cubicBezTo>
                  <a:cubicBezTo>
                    <a:pt x="25545" y="11703"/>
                    <a:pt x="25160" y="11703"/>
                    <a:pt x="24777" y="11721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93" name="Freeform: Shape 382">
              <a:extLst>
                <a:ext uri="{FF2B5EF4-FFF2-40B4-BE49-F238E27FC236}">
                  <a16:creationId xmlns:a16="http://schemas.microsoft.com/office/drawing/2014/main" id="{21EC762B-F8D2-49B2-BF25-C6626771EE29}"/>
                </a:ext>
              </a:extLst>
            </p:cNvPr>
            <p:cNvSpPr/>
            <p:nvPr/>
          </p:nvSpPr>
          <p:spPr>
            <a:xfrm>
              <a:off x="9487712" y="3049065"/>
              <a:ext cx="104841" cy="121157"/>
            </a:xfrm>
            <a:custGeom>
              <a:avLst/>
              <a:gdLst>
                <a:gd name="connsiteX0" fmla="*/ 24777 w 49552"/>
                <a:gd name="connsiteY0" fmla="*/ 57257 h 57263"/>
                <a:gd name="connsiteX1" fmla="*/ 6 w 49552"/>
                <a:gd name="connsiteY1" fmla="*/ 33585 h 57263"/>
                <a:gd name="connsiteX2" fmla="*/ 6 w 49552"/>
                <a:gd name="connsiteY2" fmla="*/ 32486 h 57263"/>
                <a:gd name="connsiteX3" fmla="*/ 6 w 49552"/>
                <a:gd name="connsiteY3" fmla="*/ 24924 h 57263"/>
                <a:gd name="connsiteX4" fmla="*/ 24623 w 49552"/>
                <a:gd name="connsiteY4" fmla="*/ 0 h 57263"/>
                <a:gd name="connsiteX5" fmla="*/ 49547 w 49552"/>
                <a:gd name="connsiteY5" fmla="*/ 24617 h 57263"/>
                <a:gd name="connsiteX6" fmla="*/ 49547 w 49552"/>
                <a:gd name="connsiteY6" fmla="*/ 24924 h 57263"/>
                <a:gd name="connsiteX7" fmla="*/ 49546 w 49552"/>
                <a:gd name="connsiteY7" fmla="*/ 32486 h 57263"/>
                <a:gd name="connsiteX8" fmla="*/ 25874 w 49552"/>
                <a:gd name="connsiteY8" fmla="*/ 57257 h 57263"/>
                <a:gd name="connsiteX9" fmla="*/ 24776 w 49552"/>
                <a:gd name="connsiteY9" fmla="*/ 57257 h 57263"/>
                <a:gd name="connsiteX10" fmla="*/ 24777 w 49552"/>
                <a:gd name="connsiteY10" fmla="*/ 11874 h 57263"/>
                <a:gd name="connsiteX11" fmla="*/ 11727 w 49552"/>
                <a:gd name="connsiteY11" fmla="*/ 23773 h 57263"/>
                <a:gd name="connsiteX12" fmla="*/ 11727 w 49552"/>
                <a:gd name="connsiteY12" fmla="*/ 24923 h 57263"/>
                <a:gd name="connsiteX13" fmla="*/ 11727 w 49552"/>
                <a:gd name="connsiteY13" fmla="*/ 32485 h 57263"/>
                <a:gd name="connsiteX14" fmla="*/ 24777 w 49552"/>
                <a:gd name="connsiteY14" fmla="*/ 45535 h 57263"/>
                <a:gd name="connsiteX15" fmla="*/ 37826 w 49552"/>
                <a:gd name="connsiteY15" fmla="*/ 32485 h 57263"/>
                <a:gd name="connsiteX16" fmla="*/ 37826 w 49552"/>
                <a:gd name="connsiteY16" fmla="*/ 24923 h 57263"/>
                <a:gd name="connsiteX17" fmla="*/ 25927 w 49552"/>
                <a:gd name="connsiteY17" fmla="*/ 11874 h 57263"/>
                <a:gd name="connsiteX18" fmla="*/ 24777 w 49552"/>
                <a:gd name="connsiteY18" fmla="*/ 11874 h 57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9552" h="57263">
                  <a:moveTo>
                    <a:pt x="24777" y="57257"/>
                  </a:moveTo>
                  <a:cubicBezTo>
                    <a:pt x="11400" y="57560"/>
                    <a:pt x="309" y="46962"/>
                    <a:pt x="6" y="33585"/>
                  </a:cubicBezTo>
                  <a:cubicBezTo>
                    <a:pt x="-2" y="33219"/>
                    <a:pt x="-2" y="32852"/>
                    <a:pt x="6" y="32486"/>
                  </a:cubicBezTo>
                  <a:lnTo>
                    <a:pt x="6" y="24924"/>
                  </a:lnTo>
                  <a:cubicBezTo>
                    <a:pt x="-79" y="11244"/>
                    <a:pt x="10943" y="85"/>
                    <a:pt x="24623" y="0"/>
                  </a:cubicBezTo>
                  <a:cubicBezTo>
                    <a:pt x="38303" y="-84"/>
                    <a:pt x="49462" y="10937"/>
                    <a:pt x="49547" y="24617"/>
                  </a:cubicBezTo>
                  <a:cubicBezTo>
                    <a:pt x="49547" y="24720"/>
                    <a:pt x="49547" y="24822"/>
                    <a:pt x="49547" y="24924"/>
                  </a:cubicBezTo>
                  <a:lnTo>
                    <a:pt x="49546" y="32486"/>
                  </a:lnTo>
                  <a:cubicBezTo>
                    <a:pt x="49850" y="45863"/>
                    <a:pt x="39251" y="56954"/>
                    <a:pt x="25874" y="57257"/>
                  </a:cubicBezTo>
                  <a:cubicBezTo>
                    <a:pt x="25508" y="57265"/>
                    <a:pt x="25142" y="57265"/>
                    <a:pt x="24776" y="57257"/>
                  </a:cubicBezTo>
                  <a:close/>
                  <a:moveTo>
                    <a:pt x="24777" y="11874"/>
                  </a:moveTo>
                  <a:cubicBezTo>
                    <a:pt x="17888" y="11556"/>
                    <a:pt x="12045" y="16884"/>
                    <a:pt x="11727" y="23773"/>
                  </a:cubicBezTo>
                  <a:cubicBezTo>
                    <a:pt x="11710" y="24156"/>
                    <a:pt x="11710" y="24540"/>
                    <a:pt x="11727" y="24923"/>
                  </a:cubicBezTo>
                  <a:lnTo>
                    <a:pt x="11727" y="32485"/>
                  </a:lnTo>
                  <a:cubicBezTo>
                    <a:pt x="11727" y="39692"/>
                    <a:pt x="17570" y="45535"/>
                    <a:pt x="24777" y="45535"/>
                  </a:cubicBezTo>
                  <a:cubicBezTo>
                    <a:pt x="31984" y="45535"/>
                    <a:pt x="37826" y="39692"/>
                    <a:pt x="37826" y="32485"/>
                  </a:cubicBezTo>
                  <a:lnTo>
                    <a:pt x="37826" y="24923"/>
                  </a:lnTo>
                  <a:cubicBezTo>
                    <a:pt x="38143" y="18034"/>
                    <a:pt x="32816" y="12192"/>
                    <a:pt x="25927" y="11874"/>
                  </a:cubicBezTo>
                  <a:cubicBezTo>
                    <a:pt x="25544" y="11856"/>
                    <a:pt x="25160" y="11856"/>
                    <a:pt x="24777" y="11874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94" name="Freeform: Shape 383">
              <a:extLst>
                <a:ext uri="{FF2B5EF4-FFF2-40B4-BE49-F238E27FC236}">
                  <a16:creationId xmlns:a16="http://schemas.microsoft.com/office/drawing/2014/main" id="{30220621-427A-46A7-AEF1-E7DC22B439B3}"/>
                </a:ext>
              </a:extLst>
            </p:cNvPr>
            <p:cNvSpPr/>
            <p:nvPr/>
          </p:nvSpPr>
          <p:spPr>
            <a:xfrm>
              <a:off x="9636157" y="3185433"/>
              <a:ext cx="100428" cy="140422"/>
            </a:xfrm>
            <a:custGeom>
              <a:avLst/>
              <a:gdLst>
                <a:gd name="connsiteX0" fmla="*/ 47465 w 47466"/>
                <a:gd name="connsiteY0" fmla="*/ 66368 h 66368"/>
                <a:gd name="connsiteX1" fmla="*/ 35745 w 47466"/>
                <a:gd name="connsiteY1" fmla="*/ 66368 h 66368"/>
                <a:gd name="connsiteX2" fmla="*/ 35745 w 47466"/>
                <a:gd name="connsiteY2" fmla="*/ 28547 h 66368"/>
                <a:gd name="connsiteX3" fmla="*/ 3785 w 47466"/>
                <a:gd name="connsiteY3" fmla="*/ 11716 h 66368"/>
                <a:gd name="connsiteX4" fmla="*/ 0 w 47466"/>
                <a:gd name="connsiteY4" fmla="*/ 11716 h 66368"/>
                <a:gd name="connsiteX5" fmla="*/ 0 w 47466"/>
                <a:gd name="connsiteY5" fmla="*/ 0 h 66368"/>
                <a:gd name="connsiteX6" fmla="*/ 3786 w 47466"/>
                <a:gd name="connsiteY6" fmla="*/ 0 h 66368"/>
                <a:gd name="connsiteX7" fmla="*/ 47467 w 47466"/>
                <a:gd name="connsiteY7" fmla="*/ 28552 h 66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466" h="66368">
                  <a:moveTo>
                    <a:pt x="47465" y="66368"/>
                  </a:moveTo>
                  <a:lnTo>
                    <a:pt x="35745" y="66368"/>
                  </a:lnTo>
                  <a:lnTo>
                    <a:pt x="35745" y="28547"/>
                  </a:lnTo>
                  <a:cubicBezTo>
                    <a:pt x="35745" y="21283"/>
                    <a:pt x="15647" y="11716"/>
                    <a:pt x="3785" y="11716"/>
                  </a:cubicBezTo>
                  <a:lnTo>
                    <a:pt x="0" y="11716"/>
                  </a:lnTo>
                  <a:lnTo>
                    <a:pt x="0" y="0"/>
                  </a:lnTo>
                  <a:lnTo>
                    <a:pt x="3786" y="0"/>
                  </a:lnTo>
                  <a:cubicBezTo>
                    <a:pt x="18781" y="0"/>
                    <a:pt x="47467" y="11120"/>
                    <a:pt x="47467" y="28552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95" name="Freeform: Shape 385">
              <a:extLst>
                <a:ext uri="{FF2B5EF4-FFF2-40B4-BE49-F238E27FC236}">
                  <a16:creationId xmlns:a16="http://schemas.microsoft.com/office/drawing/2014/main" id="{A899EE9E-B096-4E0C-8665-B90651F4F604}"/>
                </a:ext>
              </a:extLst>
            </p:cNvPr>
            <p:cNvSpPr/>
            <p:nvPr/>
          </p:nvSpPr>
          <p:spPr>
            <a:xfrm>
              <a:off x="9343701" y="3185423"/>
              <a:ext cx="100409" cy="140431"/>
            </a:xfrm>
            <a:custGeom>
              <a:avLst/>
              <a:gdLst>
                <a:gd name="connsiteX0" fmla="*/ 11721 w 47457"/>
                <a:gd name="connsiteY0" fmla="*/ 66373 h 66373"/>
                <a:gd name="connsiteX1" fmla="*/ 0 w 47457"/>
                <a:gd name="connsiteY1" fmla="*/ 66373 h 66373"/>
                <a:gd name="connsiteX2" fmla="*/ 0 w 47457"/>
                <a:gd name="connsiteY2" fmla="*/ 28552 h 66373"/>
                <a:gd name="connsiteX3" fmla="*/ 43681 w 47457"/>
                <a:gd name="connsiteY3" fmla="*/ 0 h 66373"/>
                <a:gd name="connsiteX4" fmla="*/ 47458 w 47457"/>
                <a:gd name="connsiteY4" fmla="*/ 0 h 66373"/>
                <a:gd name="connsiteX5" fmla="*/ 47458 w 47457"/>
                <a:gd name="connsiteY5" fmla="*/ 11716 h 66373"/>
                <a:gd name="connsiteX6" fmla="*/ 43681 w 47457"/>
                <a:gd name="connsiteY6" fmla="*/ 11716 h 66373"/>
                <a:gd name="connsiteX7" fmla="*/ 11721 w 47457"/>
                <a:gd name="connsiteY7" fmla="*/ 28547 h 66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457" h="66373">
                  <a:moveTo>
                    <a:pt x="11721" y="66373"/>
                  </a:moveTo>
                  <a:lnTo>
                    <a:pt x="0" y="66373"/>
                  </a:lnTo>
                  <a:lnTo>
                    <a:pt x="0" y="28552"/>
                  </a:lnTo>
                  <a:cubicBezTo>
                    <a:pt x="0" y="11121"/>
                    <a:pt x="28687" y="0"/>
                    <a:pt x="43681" y="0"/>
                  </a:cubicBezTo>
                  <a:lnTo>
                    <a:pt x="47458" y="0"/>
                  </a:lnTo>
                  <a:lnTo>
                    <a:pt x="47458" y="11716"/>
                  </a:lnTo>
                  <a:lnTo>
                    <a:pt x="43681" y="11716"/>
                  </a:lnTo>
                  <a:cubicBezTo>
                    <a:pt x="31821" y="11716"/>
                    <a:pt x="11721" y="21283"/>
                    <a:pt x="11721" y="28547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</p:grpSp>
      <p:grpSp>
        <p:nvGrpSpPr>
          <p:cNvPr id="96" name="Gruppieren 95"/>
          <p:cNvGrpSpPr/>
          <p:nvPr/>
        </p:nvGrpSpPr>
        <p:grpSpPr>
          <a:xfrm>
            <a:off x="8724607" y="5468820"/>
            <a:ext cx="648000" cy="648000"/>
            <a:chOff x="9216139" y="2873822"/>
            <a:chExt cx="648000" cy="648000"/>
          </a:xfrm>
        </p:grpSpPr>
        <p:sp>
          <p:nvSpPr>
            <p:cNvPr id="97" name="Freeform: Shape 380">
              <a:extLst>
                <a:ext uri="{FF2B5EF4-FFF2-40B4-BE49-F238E27FC236}">
                  <a16:creationId xmlns:a16="http://schemas.microsoft.com/office/drawing/2014/main" id="{832FD4CD-81B1-424E-9309-E03B59C22A80}"/>
                </a:ext>
              </a:extLst>
            </p:cNvPr>
            <p:cNvSpPr/>
            <p:nvPr/>
          </p:nvSpPr>
          <p:spPr>
            <a:xfrm>
              <a:off x="9216139" y="2873822"/>
              <a:ext cx="648000" cy="648000"/>
            </a:xfrm>
            <a:custGeom>
              <a:avLst/>
              <a:gdLst>
                <a:gd name="connsiteX0" fmla="*/ 0 w 306268"/>
                <a:gd name="connsiteY0" fmla="*/ 0 h 306268"/>
                <a:gd name="connsiteX1" fmla="*/ 306269 w 306268"/>
                <a:gd name="connsiteY1" fmla="*/ 0 h 306268"/>
                <a:gd name="connsiteX2" fmla="*/ 306269 w 306268"/>
                <a:gd name="connsiteY2" fmla="*/ 306269 h 306268"/>
                <a:gd name="connsiteX3" fmla="*/ 0 w 306268"/>
                <a:gd name="connsiteY3" fmla="*/ 306269 h 3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268" h="306268">
                  <a:moveTo>
                    <a:pt x="0" y="0"/>
                  </a:moveTo>
                  <a:lnTo>
                    <a:pt x="306269" y="0"/>
                  </a:lnTo>
                  <a:lnTo>
                    <a:pt x="306269" y="306269"/>
                  </a:lnTo>
                  <a:lnTo>
                    <a:pt x="0" y="306269"/>
                  </a:lnTo>
                  <a:close/>
                </a:path>
              </a:pathLst>
            </a:custGeom>
            <a:noFill/>
            <a:ln w="19050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98" name="Freeform: Shape 381">
              <a:extLst>
                <a:ext uri="{FF2B5EF4-FFF2-40B4-BE49-F238E27FC236}">
                  <a16:creationId xmlns:a16="http://schemas.microsoft.com/office/drawing/2014/main" id="{1017F872-609E-46C2-93BF-FBD5A37C7B90}"/>
                </a:ext>
              </a:extLst>
            </p:cNvPr>
            <p:cNvSpPr/>
            <p:nvPr/>
          </p:nvSpPr>
          <p:spPr>
            <a:xfrm>
              <a:off x="9439721" y="3169425"/>
              <a:ext cx="200842" cy="164448"/>
            </a:xfrm>
            <a:custGeom>
              <a:avLst/>
              <a:gdLst>
                <a:gd name="connsiteX0" fmla="*/ 94925 w 94925"/>
                <a:gd name="connsiteY0" fmla="*/ 77725 h 77724"/>
                <a:gd name="connsiteX1" fmla="*/ 83204 w 94925"/>
                <a:gd name="connsiteY1" fmla="*/ 77725 h 77724"/>
                <a:gd name="connsiteX2" fmla="*/ 83204 w 94925"/>
                <a:gd name="connsiteY2" fmla="*/ 28551 h 77724"/>
                <a:gd name="connsiteX3" fmla="*/ 47458 w 94925"/>
                <a:gd name="connsiteY3" fmla="*/ 11720 h 77724"/>
                <a:gd name="connsiteX4" fmla="*/ 11720 w 94925"/>
                <a:gd name="connsiteY4" fmla="*/ 28551 h 77724"/>
                <a:gd name="connsiteX5" fmla="*/ 11720 w 94925"/>
                <a:gd name="connsiteY5" fmla="*/ 77725 h 77724"/>
                <a:gd name="connsiteX6" fmla="*/ 0 w 94925"/>
                <a:gd name="connsiteY6" fmla="*/ 77725 h 77724"/>
                <a:gd name="connsiteX7" fmla="*/ 0 w 94925"/>
                <a:gd name="connsiteY7" fmla="*/ 28551 h 77724"/>
                <a:gd name="connsiteX8" fmla="*/ 47458 w 94925"/>
                <a:gd name="connsiteY8" fmla="*/ 0 h 77724"/>
                <a:gd name="connsiteX9" fmla="*/ 94925 w 94925"/>
                <a:gd name="connsiteY9" fmla="*/ 28551 h 77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925" h="77724">
                  <a:moveTo>
                    <a:pt x="94925" y="77725"/>
                  </a:moveTo>
                  <a:lnTo>
                    <a:pt x="83204" y="77725"/>
                  </a:lnTo>
                  <a:lnTo>
                    <a:pt x="83204" y="28551"/>
                  </a:lnTo>
                  <a:cubicBezTo>
                    <a:pt x="83204" y="20910"/>
                    <a:pt x="61252" y="11720"/>
                    <a:pt x="47458" y="11720"/>
                  </a:cubicBezTo>
                  <a:cubicBezTo>
                    <a:pt x="33664" y="11720"/>
                    <a:pt x="11720" y="20910"/>
                    <a:pt x="11720" y="28551"/>
                  </a:cubicBezTo>
                  <a:lnTo>
                    <a:pt x="11720" y="77725"/>
                  </a:lnTo>
                  <a:lnTo>
                    <a:pt x="0" y="77725"/>
                  </a:lnTo>
                  <a:lnTo>
                    <a:pt x="0" y="28551"/>
                  </a:lnTo>
                  <a:cubicBezTo>
                    <a:pt x="0" y="10078"/>
                    <a:pt x="31346" y="0"/>
                    <a:pt x="47458" y="0"/>
                  </a:cubicBezTo>
                  <a:cubicBezTo>
                    <a:pt x="63569" y="0"/>
                    <a:pt x="94925" y="10078"/>
                    <a:pt x="94925" y="28551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99" name="Freeform: Shape 386">
              <a:extLst>
                <a:ext uri="{FF2B5EF4-FFF2-40B4-BE49-F238E27FC236}">
                  <a16:creationId xmlns:a16="http://schemas.microsoft.com/office/drawing/2014/main" id="{F64A1C8D-F2B2-4BEE-B717-00D8222D4ECA}"/>
                </a:ext>
              </a:extLst>
            </p:cNvPr>
            <p:cNvSpPr/>
            <p:nvPr/>
          </p:nvSpPr>
          <p:spPr>
            <a:xfrm>
              <a:off x="9375689" y="3065715"/>
              <a:ext cx="104841" cy="120518"/>
            </a:xfrm>
            <a:custGeom>
              <a:avLst/>
              <a:gdLst>
                <a:gd name="connsiteX0" fmla="*/ 24777 w 49552"/>
                <a:gd name="connsiteY0" fmla="*/ 56956 h 56961"/>
                <a:gd name="connsiteX1" fmla="*/ 6 w 49552"/>
                <a:gd name="connsiteY1" fmla="*/ 33281 h 56961"/>
                <a:gd name="connsiteX2" fmla="*/ 6 w 49552"/>
                <a:gd name="connsiteY2" fmla="*/ 32185 h 56961"/>
                <a:gd name="connsiteX3" fmla="*/ 6 w 49552"/>
                <a:gd name="connsiteY3" fmla="*/ 24617 h 56961"/>
                <a:gd name="connsiteX4" fmla="*/ 24930 w 49552"/>
                <a:gd name="connsiteY4" fmla="*/ 0 h 56961"/>
                <a:gd name="connsiteX5" fmla="*/ 49546 w 49552"/>
                <a:gd name="connsiteY5" fmla="*/ 24617 h 56961"/>
                <a:gd name="connsiteX6" fmla="*/ 49546 w 49552"/>
                <a:gd name="connsiteY6" fmla="*/ 32185 h 56961"/>
                <a:gd name="connsiteX7" fmla="*/ 25872 w 49552"/>
                <a:gd name="connsiteY7" fmla="*/ 56956 h 56961"/>
                <a:gd name="connsiteX8" fmla="*/ 24777 w 49552"/>
                <a:gd name="connsiteY8" fmla="*/ 56956 h 56961"/>
                <a:gd name="connsiteX9" fmla="*/ 24777 w 49552"/>
                <a:gd name="connsiteY9" fmla="*/ 11567 h 56961"/>
                <a:gd name="connsiteX10" fmla="*/ 11727 w 49552"/>
                <a:gd name="connsiteY10" fmla="*/ 23466 h 56961"/>
                <a:gd name="connsiteX11" fmla="*/ 11727 w 49552"/>
                <a:gd name="connsiteY11" fmla="*/ 24616 h 56961"/>
                <a:gd name="connsiteX12" fmla="*/ 11727 w 49552"/>
                <a:gd name="connsiteY12" fmla="*/ 32184 h 56961"/>
                <a:gd name="connsiteX13" fmla="*/ 24777 w 49552"/>
                <a:gd name="connsiteY13" fmla="*/ 45233 h 56961"/>
                <a:gd name="connsiteX14" fmla="*/ 37826 w 49552"/>
                <a:gd name="connsiteY14" fmla="*/ 32184 h 56961"/>
                <a:gd name="connsiteX15" fmla="*/ 37826 w 49552"/>
                <a:gd name="connsiteY15" fmla="*/ 24616 h 56961"/>
                <a:gd name="connsiteX16" fmla="*/ 25927 w 49552"/>
                <a:gd name="connsiteY16" fmla="*/ 11567 h 56961"/>
                <a:gd name="connsiteX17" fmla="*/ 24777 w 49552"/>
                <a:gd name="connsiteY17" fmla="*/ 11567 h 56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552" h="56961">
                  <a:moveTo>
                    <a:pt x="24777" y="56956"/>
                  </a:moveTo>
                  <a:cubicBezTo>
                    <a:pt x="11399" y="57258"/>
                    <a:pt x="309" y="46659"/>
                    <a:pt x="6" y="33281"/>
                  </a:cubicBezTo>
                  <a:cubicBezTo>
                    <a:pt x="-2" y="32916"/>
                    <a:pt x="-2" y="32550"/>
                    <a:pt x="6" y="32185"/>
                  </a:cubicBezTo>
                  <a:lnTo>
                    <a:pt x="6" y="24617"/>
                  </a:lnTo>
                  <a:cubicBezTo>
                    <a:pt x="90" y="10937"/>
                    <a:pt x="11249" y="-84"/>
                    <a:pt x="24930" y="0"/>
                  </a:cubicBezTo>
                  <a:cubicBezTo>
                    <a:pt x="38490" y="85"/>
                    <a:pt x="49462" y="11057"/>
                    <a:pt x="49546" y="24617"/>
                  </a:cubicBezTo>
                  <a:lnTo>
                    <a:pt x="49546" y="32185"/>
                  </a:lnTo>
                  <a:cubicBezTo>
                    <a:pt x="49849" y="45563"/>
                    <a:pt x="39250" y="56653"/>
                    <a:pt x="25872" y="56956"/>
                  </a:cubicBezTo>
                  <a:cubicBezTo>
                    <a:pt x="25507" y="56964"/>
                    <a:pt x="25142" y="56964"/>
                    <a:pt x="24777" y="56956"/>
                  </a:cubicBezTo>
                  <a:close/>
                  <a:moveTo>
                    <a:pt x="24777" y="11567"/>
                  </a:moveTo>
                  <a:cubicBezTo>
                    <a:pt x="17888" y="11249"/>
                    <a:pt x="12045" y="16577"/>
                    <a:pt x="11727" y="23466"/>
                  </a:cubicBezTo>
                  <a:cubicBezTo>
                    <a:pt x="11710" y="23849"/>
                    <a:pt x="11710" y="24233"/>
                    <a:pt x="11727" y="24616"/>
                  </a:cubicBezTo>
                  <a:lnTo>
                    <a:pt x="11727" y="32184"/>
                  </a:lnTo>
                  <a:cubicBezTo>
                    <a:pt x="11727" y="39391"/>
                    <a:pt x="17570" y="45233"/>
                    <a:pt x="24777" y="45233"/>
                  </a:cubicBezTo>
                  <a:cubicBezTo>
                    <a:pt x="31984" y="45233"/>
                    <a:pt x="37826" y="39391"/>
                    <a:pt x="37826" y="32184"/>
                  </a:cubicBezTo>
                  <a:lnTo>
                    <a:pt x="37826" y="24616"/>
                  </a:lnTo>
                  <a:cubicBezTo>
                    <a:pt x="38143" y="17727"/>
                    <a:pt x="32816" y="11885"/>
                    <a:pt x="25927" y="11567"/>
                  </a:cubicBezTo>
                  <a:cubicBezTo>
                    <a:pt x="25544" y="11549"/>
                    <a:pt x="25160" y="11549"/>
                    <a:pt x="24777" y="11567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100" name="Freeform: Shape 384">
              <a:extLst>
                <a:ext uri="{FF2B5EF4-FFF2-40B4-BE49-F238E27FC236}">
                  <a16:creationId xmlns:a16="http://schemas.microsoft.com/office/drawing/2014/main" id="{EDC1EDE1-6889-4A08-8D6F-C6D7CAB1BACB}"/>
                </a:ext>
              </a:extLst>
            </p:cNvPr>
            <p:cNvSpPr/>
            <p:nvPr/>
          </p:nvSpPr>
          <p:spPr>
            <a:xfrm>
              <a:off x="9599751" y="3065392"/>
              <a:ext cx="104845" cy="120843"/>
            </a:xfrm>
            <a:custGeom>
              <a:avLst/>
              <a:gdLst>
                <a:gd name="connsiteX0" fmla="*/ 24777 w 49553"/>
                <a:gd name="connsiteY0" fmla="*/ 57109 h 57115"/>
                <a:gd name="connsiteX1" fmla="*/ 6 w 49553"/>
                <a:gd name="connsiteY1" fmla="*/ 33433 h 57115"/>
                <a:gd name="connsiteX2" fmla="*/ 6 w 49553"/>
                <a:gd name="connsiteY2" fmla="*/ 32338 h 57115"/>
                <a:gd name="connsiteX3" fmla="*/ 6 w 49553"/>
                <a:gd name="connsiteY3" fmla="*/ 24771 h 57115"/>
                <a:gd name="connsiteX4" fmla="*/ 24776 w 49553"/>
                <a:gd name="connsiteY4" fmla="*/ 0 h 57115"/>
                <a:gd name="connsiteX5" fmla="*/ 49547 w 49553"/>
                <a:gd name="connsiteY5" fmla="*/ 24771 h 57115"/>
                <a:gd name="connsiteX6" fmla="*/ 49547 w 49553"/>
                <a:gd name="connsiteY6" fmla="*/ 32338 h 57115"/>
                <a:gd name="connsiteX7" fmla="*/ 25871 w 49553"/>
                <a:gd name="connsiteY7" fmla="*/ 57109 h 57115"/>
                <a:gd name="connsiteX8" fmla="*/ 24777 w 49553"/>
                <a:gd name="connsiteY8" fmla="*/ 57109 h 57115"/>
                <a:gd name="connsiteX9" fmla="*/ 24777 w 49553"/>
                <a:gd name="connsiteY9" fmla="*/ 11721 h 57115"/>
                <a:gd name="connsiteX10" fmla="*/ 11727 w 49553"/>
                <a:gd name="connsiteY10" fmla="*/ 23619 h 57115"/>
                <a:gd name="connsiteX11" fmla="*/ 11727 w 49553"/>
                <a:gd name="connsiteY11" fmla="*/ 24770 h 57115"/>
                <a:gd name="connsiteX12" fmla="*/ 11727 w 49553"/>
                <a:gd name="connsiteY12" fmla="*/ 32337 h 57115"/>
                <a:gd name="connsiteX13" fmla="*/ 24777 w 49553"/>
                <a:gd name="connsiteY13" fmla="*/ 45387 h 57115"/>
                <a:gd name="connsiteX14" fmla="*/ 37826 w 49553"/>
                <a:gd name="connsiteY14" fmla="*/ 32337 h 57115"/>
                <a:gd name="connsiteX15" fmla="*/ 37826 w 49553"/>
                <a:gd name="connsiteY15" fmla="*/ 24770 h 57115"/>
                <a:gd name="connsiteX16" fmla="*/ 25929 w 49553"/>
                <a:gd name="connsiteY16" fmla="*/ 11721 h 57115"/>
                <a:gd name="connsiteX17" fmla="*/ 24777 w 49553"/>
                <a:gd name="connsiteY17" fmla="*/ 11721 h 57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553" h="57115">
                  <a:moveTo>
                    <a:pt x="24777" y="57109"/>
                  </a:moveTo>
                  <a:cubicBezTo>
                    <a:pt x="11398" y="57411"/>
                    <a:pt x="308" y="46811"/>
                    <a:pt x="6" y="33433"/>
                  </a:cubicBezTo>
                  <a:cubicBezTo>
                    <a:pt x="-2" y="33068"/>
                    <a:pt x="-2" y="32703"/>
                    <a:pt x="6" y="32338"/>
                  </a:cubicBezTo>
                  <a:lnTo>
                    <a:pt x="6" y="24771"/>
                  </a:lnTo>
                  <a:cubicBezTo>
                    <a:pt x="6" y="11090"/>
                    <a:pt x="11096" y="0"/>
                    <a:pt x="24776" y="0"/>
                  </a:cubicBezTo>
                  <a:cubicBezTo>
                    <a:pt x="38457" y="0"/>
                    <a:pt x="49547" y="11090"/>
                    <a:pt x="49547" y="24771"/>
                  </a:cubicBezTo>
                  <a:lnTo>
                    <a:pt x="49547" y="32338"/>
                  </a:lnTo>
                  <a:cubicBezTo>
                    <a:pt x="49850" y="45717"/>
                    <a:pt x="39249" y="56807"/>
                    <a:pt x="25871" y="57109"/>
                  </a:cubicBezTo>
                  <a:cubicBezTo>
                    <a:pt x="25506" y="57117"/>
                    <a:pt x="25141" y="57117"/>
                    <a:pt x="24777" y="57109"/>
                  </a:cubicBezTo>
                  <a:close/>
                  <a:moveTo>
                    <a:pt x="24777" y="11721"/>
                  </a:moveTo>
                  <a:cubicBezTo>
                    <a:pt x="17888" y="11403"/>
                    <a:pt x="12045" y="16730"/>
                    <a:pt x="11727" y="23619"/>
                  </a:cubicBezTo>
                  <a:cubicBezTo>
                    <a:pt x="11710" y="24003"/>
                    <a:pt x="11710" y="24387"/>
                    <a:pt x="11727" y="24770"/>
                  </a:cubicBezTo>
                  <a:lnTo>
                    <a:pt x="11727" y="32337"/>
                  </a:lnTo>
                  <a:cubicBezTo>
                    <a:pt x="11727" y="39544"/>
                    <a:pt x="17570" y="45387"/>
                    <a:pt x="24777" y="45387"/>
                  </a:cubicBezTo>
                  <a:cubicBezTo>
                    <a:pt x="31984" y="45387"/>
                    <a:pt x="37826" y="39544"/>
                    <a:pt x="37826" y="32337"/>
                  </a:cubicBezTo>
                  <a:lnTo>
                    <a:pt x="37826" y="24770"/>
                  </a:lnTo>
                  <a:cubicBezTo>
                    <a:pt x="38144" y="17881"/>
                    <a:pt x="32817" y="12039"/>
                    <a:pt x="25929" y="11721"/>
                  </a:cubicBezTo>
                  <a:cubicBezTo>
                    <a:pt x="25545" y="11703"/>
                    <a:pt x="25160" y="11703"/>
                    <a:pt x="24777" y="11721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101" name="Freeform: Shape 382">
              <a:extLst>
                <a:ext uri="{FF2B5EF4-FFF2-40B4-BE49-F238E27FC236}">
                  <a16:creationId xmlns:a16="http://schemas.microsoft.com/office/drawing/2014/main" id="{21EC762B-F8D2-49B2-BF25-C6626771EE29}"/>
                </a:ext>
              </a:extLst>
            </p:cNvPr>
            <p:cNvSpPr/>
            <p:nvPr/>
          </p:nvSpPr>
          <p:spPr>
            <a:xfrm>
              <a:off x="9487712" y="3049065"/>
              <a:ext cx="104841" cy="121157"/>
            </a:xfrm>
            <a:custGeom>
              <a:avLst/>
              <a:gdLst>
                <a:gd name="connsiteX0" fmla="*/ 24777 w 49552"/>
                <a:gd name="connsiteY0" fmla="*/ 57257 h 57263"/>
                <a:gd name="connsiteX1" fmla="*/ 6 w 49552"/>
                <a:gd name="connsiteY1" fmla="*/ 33585 h 57263"/>
                <a:gd name="connsiteX2" fmla="*/ 6 w 49552"/>
                <a:gd name="connsiteY2" fmla="*/ 32486 h 57263"/>
                <a:gd name="connsiteX3" fmla="*/ 6 w 49552"/>
                <a:gd name="connsiteY3" fmla="*/ 24924 h 57263"/>
                <a:gd name="connsiteX4" fmla="*/ 24623 w 49552"/>
                <a:gd name="connsiteY4" fmla="*/ 0 h 57263"/>
                <a:gd name="connsiteX5" fmla="*/ 49547 w 49552"/>
                <a:gd name="connsiteY5" fmla="*/ 24617 h 57263"/>
                <a:gd name="connsiteX6" fmla="*/ 49547 w 49552"/>
                <a:gd name="connsiteY6" fmla="*/ 24924 h 57263"/>
                <a:gd name="connsiteX7" fmla="*/ 49546 w 49552"/>
                <a:gd name="connsiteY7" fmla="*/ 32486 h 57263"/>
                <a:gd name="connsiteX8" fmla="*/ 25874 w 49552"/>
                <a:gd name="connsiteY8" fmla="*/ 57257 h 57263"/>
                <a:gd name="connsiteX9" fmla="*/ 24776 w 49552"/>
                <a:gd name="connsiteY9" fmla="*/ 57257 h 57263"/>
                <a:gd name="connsiteX10" fmla="*/ 24777 w 49552"/>
                <a:gd name="connsiteY10" fmla="*/ 11874 h 57263"/>
                <a:gd name="connsiteX11" fmla="*/ 11727 w 49552"/>
                <a:gd name="connsiteY11" fmla="*/ 23773 h 57263"/>
                <a:gd name="connsiteX12" fmla="*/ 11727 w 49552"/>
                <a:gd name="connsiteY12" fmla="*/ 24923 h 57263"/>
                <a:gd name="connsiteX13" fmla="*/ 11727 w 49552"/>
                <a:gd name="connsiteY13" fmla="*/ 32485 h 57263"/>
                <a:gd name="connsiteX14" fmla="*/ 24777 w 49552"/>
                <a:gd name="connsiteY14" fmla="*/ 45535 h 57263"/>
                <a:gd name="connsiteX15" fmla="*/ 37826 w 49552"/>
                <a:gd name="connsiteY15" fmla="*/ 32485 h 57263"/>
                <a:gd name="connsiteX16" fmla="*/ 37826 w 49552"/>
                <a:gd name="connsiteY16" fmla="*/ 24923 h 57263"/>
                <a:gd name="connsiteX17" fmla="*/ 25927 w 49552"/>
                <a:gd name="connsiteY17" fmla="*/ 11874 h 57263"/>
                <a:gd name="connsiteX18" fmla="*/ 24777 w 49552"/>
                <a:gd name="connsiteY18" fmla="*/ 11874 h 57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9552" h="57263">
                  <a:moveTo>
                    <a:pt x="24777" y="57257"/>
                  </a:moveTo>
                  <a:cubicBezTo>
                    <a:pt x="11400" y="57560"/>
                    <a:pt x="309" y="46962"/>
                    <a:pt x="6" y="33585"/>
                  </a:cubicBezTo>
                  <a:cubicBezTo>
                    <a:pt x="-2" y="33219"/>
                    <a:pt x="-2" y="32852"/>
                    <a:pt x="6" y="32486"/>
                  </a:cubicBezTo>
                  <a:lnTo>
                    <a:pt x="6" y="24924"/>
                  </a:lnTo>
                  <a:cubicBezTo>
                    <a:pt x="-79" y="11244"/>
                    <a:pt x="10943" y="85"/>
                    <a:pt x="24623" y="0"/>
                  </a:cubicBezTo>
                  <a:cubicBezTo>
                    <a:pt x="38303" y="-84"/>
                    <a:pt x="49462" y="10937"/>
                    <a:pt x="49547" y="24617"/>
                  </a:cubicBezTo>
                  <a:cubicBezTo>
                    <a:pt x="49547" y="24720"/>
                    <a:pt x="49547" y="24822"/>
                    <a:pt x="49547" y="24924"/>
                  </a:cubicBezTo>
                  <a:lnTo>
                    <a:pt x="49546" y="32486"/>
                  </a:lnTo>
                  <a:cubicBezTo>
                    <a:pt x="49850" y="45863"/>
                    <a:pt x="39251" y="56954"/>
                    <a:pt x="25874" y="57257"/>
                  </a:cubicBezTo>
                  <a:cubicBezTo>
                    <a:pt x="25508" y="57265"/>
                    <a:pt x="25142" y="57265"/>
                    <a:pt x="24776" y="57257"/>
                  </a:cubicBezTo>
                  <a:close/>
                  <a:moveTo>
                    <a:pt x="24777" y="11874"/>
                  </a:moveTo>
                  <a:cubicBezTo>
                    <a:pt x="17888" y="11556"/>
                    <a:pt x="12045" y="16884"/>
                    <a:pt x="11727" y="23773"/>
                  </a:cubicBezTo>
                  <a:cubicBezTo>
                    <a:pt x="11710" y="24156"/>
                    <a:pt x="11710" y="24540"/>
                    <a:pt x="11727" y="24923"/>
                  </a:cubicBezTo>
                  <a:lnTo>
                    <a:pt x="11727" y="32485"/>
                  </a:lnTo>
                  <a:cubicBezTo>
                    <a:pt x="11727" y="39692"/>
                    <a:pt x="17570" y="45535"/>
                    <a:pt x="24777" y="45535"/>
                  </a:cubicBezTo>
                  <a:cubicBezTo>
                    <a:pt x="31984" y="45535"/>
                    <a:pt x="37826" y="39692"/>
                    <a:pt x="37826" y="32485"/>
                  </a:cubicBezTo>
                  <a:lnTo>
                    <a:pt x="37826" y="24923"/>
                  </a:lnTo>
                  <a:cubicBezTo>
                    <a:pt x="38143" y="18034"/>
                    <a:pt x="32816" y="12192"/>
                    <a:pt x="25927" y="11874"/>
                  </a:cubicBezTo>
                  <a:cubicBezTo>
                    <a:pt x="25544" y="11856"/>
                    <a:pt x="25160" y="11856"/>
                    <a:pt x="24777" y="11874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102" name="Freeform: Shape 383">
              <a:extLst>
                <a:ext uri="{FF2B5EF4-FFF2-40B4-BE49-F238E27FC236}">
                  <a16:creationId xmlns:a16="http://schemas.microsoft.com/office/drawing/2014/main" id="{30220621-427A-46A7-AEF1-E7DC22B439B3}"/>
                </a:ext>
              </a:extLst>
            </p:cNvPr>
            <p:cNvSpPr/>
            <p:nvPr/>
          </p:nvSpPr>
          <p:spPr>
            <a:xfrm>
              <a:off x="9636157" y="3185433"/>
              <a:ext cx="100428" cy="140422"/>
            </a:xfrm>
            <a:custGeom>
              <a:avLst/>
              <a:gdLst>
                <a:gd name="connsiteX0" fmla="*/ 47465 w 47466"/>
                <a:gd name="connsiteY0" fmla="*/ 66368 h 66368"/>
                <a:gd name="connsiteX1" fmla="*/ 35745 w 47466"/>
                <a:gd name="connsiteY1" fmla="*/ 66368 h 66368"/>
                <a:gd name="connsiteX2" fmla="*/ 35745 w 47466"/>
                <a:gd name="connsiteY2" fmla="*/ 28547 h 66368"/>
                <a:gd name="connsiteX3" fmla="*/ 3785 w 47466"/>
                <a:gd name="connsiteY3" fmla="*/ 11716 h 66368"/>
                <a:gd name="connsiteX4" fmla="*/ 0 w 47466"/>
                <a:gd name="connsiteY4" fmla="*/ 11716 h 66368"/>
                <a:gd name="connsiteX5" fmla="*/ 0 w 47466"/>
                <a:gd name="connsiteY5" fmla="*/ 0 h 66368"/>
                <a:gd name="connsiteX6" fmla="*/ 3786 w 47466"/>
                <a:gd name="connsiteY6" fmla="*/ 0 h 66368"/>
                <a:gd name="connsiteX7" fmla="*/ 47467 w 47466"/>
                <a:gd name="connsiteY7" fmla="*/ 28552 h 66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466" h="66368">
                  <a:moveTo>
                    <a:pt x="47465" y="66368"/>
                  </a:moveTo>
                  <a:lnTo>
                    <a:pt x="35745" y="66368"/>
                  </a:lnTo>
                  <a:lnTo>
                    <a:pt x="35745" y="28547"/>
                  </a:lnTo>
                  <a:cubicBezTo>
                    <a:pt x="35745" y="21283"/>
                    <a:pt x="15647" y="11716"/>
                    <a:pt x="3785" y="11716"/>
                  </a:cubicBezTo>
                  <a:lnTo>
                    <a:pt x="0" y="11716"/>
                  </a:lnTo>
                  <a:lnTo>
                    <a:pt x="0" y="0"/>
                  </a:lnTo>
                  <a:lnTo>
                    <a:pt x="3786" y="0"/>
                  </a:lnTo>
                  <a:cubicBezTo>
                    <a:pt x="18781" y="0"/>
                    <a:pt x="47467" y="11120"/>
                    <a:pt x="47467" y="28552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103" name="Freeform: Shape 385">
              <a:extLst>
                <a:ext uri="{FF2B5EF4-FFF2-40B4-BE49-F238E27FC236}">
                  <a16:creationId xmlns:a16="http://schemas.microsoft.com/office/drawing/2014/main" id="{A899EE9E-B096-4E0C-8665-B90651F4F604}"/>
                </a:ext>
              </a:extLst>
            </p:cNvPr>
            <p:cNvSpPr/>
            <p:nvPr/>
          </p:nvSpPr>
          <p:spPr>
            <a:xfrm>
              <a:off x="9343701" y="3185423"/>
              <a:ext cx="100409" cy="140431"/>
            </a:xfrm>
            <a:custGeom>
              <a:avLst/>
              <a:gdLst>
                <a:gd name="connsiteX0" fmla="*/ 11721 w 47457"/>
                <a:gd name="connsiteY0" fmla="*/ 66373 h 66373"/>
                <a:gd name="connsiteX1" fmla="*/ 0 w 47457"/>
                <a:gd name="connsiteY1" fmla="*/ 66373 h 66373"/>
                <a:gd name="connsiteX2" fmla="*/ 0 w 47457"/>
                <a:gd name="connsiteY2" fmla="*/ 28552 h 66373"/>
                <a:gd name="connsiteX3" fmla="*/ 43681 w 47457"/>
                <a:gd name="connsiteY3" fmla="*/ 0 h 66373"/>
                <a:gd name="connsiteX4" fmla="*/ 47458 w 47457"/>
                <a:gd name="connsiteY4" fmla="*/ 0 h 66373"/>
                <a:gd name="connsiteX5" fmla="*/ 47458 w 47457"/>
                <a:gd name="connsiteY5" fmla="*/ 11716 h 66373"/>
                <a:gd name="connsiteX6" fmla="*/ 43681 w 47457"/>
                <a:gd name="connsiteY6" fmla="*/ 11716 h 66373"/>
                <a:gd name="connsiteX7" fmla="*/ 11721 w 47457"/>
                <a:gd name="connsiteY7" fmla="*/ 28547 h 66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457" h="66373">
                  <a:moveTo>
                    <a:pt x="11721" y="66373"/>
                  </a:moveTo>
                  <a:lnTo>
                    <a:pt x="0" y="66373"/>
                  </a:lnTo>
                  <a:lnTo>
                    <a:pt x="0" y="28552"/>
                  </a:lnTo>
                  <a:cubicBezTo>
                    <a:pt x="0" y="11121"/>
                    <a:pt x="28687" y="0"/>
                    <a:pt x="43681" y="0"/>
                  </a:cubicBezTo>
                  <a:lnTo>
                    <a:pt x="47458" y="0"/>
                  </a:lnTo>
                  <a:lnTo>
                    <a:pt x="47458" y="11716"/>
                  </a:lnTo>
                  <a:lnTo>
                    <a:pt x="43681" y="11716"/>
                  </a:lnTo>
                  <a:cubicBezTo>
                    <a:pt x="31821" y="11716"/>
                    <a:pt x="11721" y="21283"/>
                    <a:pt x="11721" y="28547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</p:grpSp>
      <p:cxnSp>
        <p:nvCxnSpPr>
          <p:cNvPr id="140" name="Gerade Verbindung mit Pfeil 139"/>
          <p:cNvCxnSpPr/>
          <p:nvPr/>
        </p:nvCxnSpPr>
        <p:spPr>
          <a:xfrm flipV="1">
            <a:off x="3953267" y="3337025"/>
            <a:ext cx="1935480" cy="9899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 flipV="1">
            <a:off x="3953267" y="4162211"/>
            <a:ext cx="1935480" cy="1647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mit Pfeil 143"/>
          <p:cNvCxnSpPr/>
          <p:nvPr/>
        </p:nvCxnSpPr>
        <p:spPr>
          <a:xfrm>
            <a:off x="3953267" y="4327010"/>
            <a:ext cx="1943901" cy="5939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Gerade Verbindung mit Pfeil 145"/>
          <p:cNvCxnSpPr/>
          <p:nvPr/>
        </p:nvCxnSpPr>
        <p:spPr>
          <a:xfrm>
            <a:off x="3953267" y="4327010"/>
            <a:ext cx="1971445" cy="14374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9" name="Gruppieren 148"/>
          <p:cNvGrpSpPr/>
          <p:nvPr/>
        </p:nvGrpSpPr>
        <p:grpSpPr>
          <a:xfrm>
            <a:off x="2314637" y="3210339"/>
            <a:ext cx="648000" cy="648000"/>
            <a:chOff x="10633784" y="4098711"/>
            <a:chExt cx="408357" cy="408357"/>
          </a:xfrm>
        </p:grpSpPr>
        <p:sp>
          <p:nvSpPr>
            <p:cNvPr id="147" name="Freeform: Shape 320">
              <a:extLst>
                <a:ext uri="{FF2B5EF4-FFF2-40B4-BE49-F238E27FC236}">
                  <a16:creationId xmlns:a16="http://schemas.microsoft.com/office/drawing/2014/main" id="{00771FCF-B7A0-45D5-8E70-2FA5D489B078}"/>
                </a:ext>
              </a:extLst>
            </p:cNvPr>
            <p:cNvSpPr/>
            <p:nvPr/>
          </p:nvSpPr>
          <p:spPr>
            <a:xfrm>
              <a:off x="10633784" y="4098711"/>
              <a:ext cx="408357" cy="408357"/>
            </a:xfrm>
            <a:custGeom>
              <a:avLst/>
              <a:gdLst>
                <a:gd name="connsiteX0" fmla="*/ 0 w 306268"/>
                <a:gd name="connsiteY0" fmla="*/ 0 h 306268"/>
                <a:gd name="connsiteX1" fmla="*/ 306268 w 306268"/>
                <a:gd name="connsiteY1" fmla="*/ 0 h 306268"/>
                <a:gd name="connsiteX2" fmla="*/ 306268 w 306268"/>
                <a:gd name="connsiteY2" fmla="*/ 306269 h 306268"/>
                <a:gd name="connsiteX3" fmla="*/ 0 w 306268"/>
                <a:gd name="connsiteY3" fmla="*/ 306269 h 3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268" h="306268">
                  <a:moveTo>
                    <a:pt x="0" y="0"/>
                  </a:moveTo>
                  <a:lnTo>
                    <a:pt x="306268" y="0"/>
                  </a:lnTo>
                  <a:lnTo>
                    <a:pt x="306268" y="306269"/>
                  </a:lnTo>
                  <a:lnTo>
                    <a:pt x="0" y="306269"/>
                  </a:lnTo>
                  <a:close/>
                </a:path>
              </a:pathLst>
            </a:custGeom>
            <a:noFill/>
            <a:ln w="19050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148" name="Freeform: Shape 322">
              <a:extLst>
                <a:ext uri="{FF2B5EF4-FFF2-40B4-BE49-F238E27FC236}">
                  <a16:creationId xmlns:a16="http://schemas.microsoft.com/office/drawing/2014/main" id="{C06B567B-F10B-4B50-9373-66E9CCCF5DC0}"/>
                </a:ext>
              </a:extLst>
            </p:cNvPr>
            <p:cNvSpPr/>
            <p:nvPr/>
          </p:nvSpPr>
          <p:spPr>
            <a:xfrm>
              <a:off x="10786532" y="4199177"/>
              <a:ext cx="102873" cy="207425"/>
            </a:xfrm>
            <a:custGeom>
              <a:avLst/>
              <a:gdLst>
                <a:gd name="connsiteX0" fmla="*/ 0 w 77155"/>
                <a:gd name="connsiteY0" fmla="*/ 15303 h 155569"/>
                <a:gd name="connsiteX1" fmla="*/ 7283 w 77155"/>
                <a:gd name="connsiteY1" fmla="*/ 9461 h 155569"/>
                <a:gd name="connsiteX2" fmla="*/ 15999 w 77155"/>
                <a:gd name="connsiteY2" fmla="*/ 4573 h 155569"/>
                <a:gd name="connsiteX3" fmla="*/ 26191 w 77155"/>
                <a:gd name="connsiteY3" fmla="*/ 1225 h 155569"/>
                <a:gd name="connsiteX4" fmla="*/ 38041 w 77155"/>
                <a:gd name="connsiteY4" fmla="*/ 2 h 155569"/>
                <a:gd name="connsiteX5" fmla="*/ 53612 w 77155"/>
                <a:gd name="connsiteY5" fmla="*/ 2448 h 155569"/>
                <a:gd name="connsiteX6" fmla="*/ 65984 w 77155"/>
                <a:gd name="connsiteY6" fmla="*/ 9355 h 155569"/>
                <a:gd name="connsiteX7" fmla="*/ 74169 w 77155"/>
                <a:gd name="connsiteY7" fmla="*/ 20191 h 155569"/>
                <a:gd name="connsiteX8" fmla="*/ 77146 w 77155"/>
                <a:gd name="connsiteY8" fmla="*/ 34539 h 155569"/>
                <a:gd name="connsiteX9" fmla="*/ 74755 w 77155"/>
                <a:gd name="connsiteY9" fmla="*/ 48459 h 155569"/>
                <a:gd name="connsiteX10" fmla="*/ 68700 w 77155"/>
                <a:gd name="connsiteY10" fmla="*/ 58709 h 155569"/>
                <a:gd name="connsiteX11" fmla="*/ 60673 w 77155"/>
                <a:gd name="connsiteY11" fmla="*/ 66360 h 155569"/>
                <a:gd name="connsiteX12" fmla="*/ 52543 w 77155"/>
                <a:gd name="connsiteY12" fmla="*/ 72472 h 155569"/>
                <a:gd name="connsiteX13" fmla="*/ 46066 w 77155"/>
                <a:gd name="connsiteY13" fmla="*/ 78211 h 155569"/>
                <a:gd name="connsiteX14" fmla="*/ 42931 w 77155"/>
                <a:gd name="connsiteY14" fmla="*/ 84587 h 155569"/>
                <a:gd name="connsiteX15" fmla="*/ 41014 w 77155"/>
                <a:gd name="connsiteY15" fmla="*/ 100842 h 155569"/>
                <a:gd name="connsiteX16" fmla="*/ 28048 w 77155"/>
                <a:gd name="connsiteY16" fmla="*/ 100842 h 155569"/>
                <a:gd name="connsiteX17" fmla="*/ 26773 w 77155"/>
                <a:gd name="connsiteY17" fmla="*/ 83206 h 155569"/>
                <a:gd name="connsiteX18" fmla="*/ 26773 w 77155"/>
                <a:gd name="connsiteY18" fmla="*/ 82034 h 155569"/>
                <a:gd name="connsiteX19" fmla="*/ 29164 w 77155"/>
                <a:gd name="connsiteY19" fmla="*/ 74118 h 155569"/>
                <a:gd name="connsiteX20" fmla="*/ 35219 w 77155"/>
                <a:gd name="connsiteY20" fmla="*/ 67641 h 155569"/>
                <a:gd name="connsiteX21" fmla="*/ 43089 w 77155"/>
                <a:gd name="connsiteY21" fmla="*/ 61581 h 155569"/>
                <a:gd name="connsiteX22" fmla="*/ 50949 w 77155"/>
                <a:gd name="connsiteY22" fmla="*/ 54889 h 155569"/>
                <a:gd name="connsiteX23" fmla="*/ 57004 w 77155"/>
                <a:gd name="connsiteY23" fmla="*/ 46545 h 155569"/>
                <a:gd name="connsiteX24" fmla="*/ 59395 w 77155"/>
                <a:gd name="connsiteY24" fmla="*/ 35496 h 155569"/>
                <a:gd name="connsiteX25" fmla="*/ 57591 w 77155"/>
                <a:gd name="connsiteY25" fmla="*/ 27209 h 155569"/>
                <a:gd name="connsiteX26" fmla="*/ 52707 w 77155"/>
                <a:gd name="connsiteY26" fmla="*/ 20888 h 155569"/>
                <a:gd name="connsiteX27" fmla="*/ 45423 w 77155"/>
                <a:gd name="connsiteY27" fmla="*/ 16903 h 155569"/>
                <a:gd name="connsiteX28" fmla="*/ 36447 w 77155"/>
                <a:gd name="connsiteY28" fmla="*/ 15522 h 155569"/>
                <a:gd name="connsiteX29" fmla="*/ 25341 w 77155"/>
                <a:gd name="connsiteY29" fmla="*/ 17116 h 155569"/>
                <a:gd name="connsiteX30" fmla="*/ 17530 w 77155"/>
                <a:gd name="connsiteY30" fmla="*/ 20623 h 155569"/>
                <a:gd name="connsiteX31" fmla="*/ 12377 w 77155"/>
                <a:gd name="connsiteY31" fmla="*/ 24131 h 155569"/>
                <a:gd name="connsiteX32" fmla="*/ 9138 w 77155"/>
                <a:gd name="connsiteY32" fmla="*/ 25721 h 155569"/>
                <a:gd name="connsiteX33" fmla="*/ 4990 w 77155"/>
                <a:gd name="connsiteY33" fmla="*/ 23279 h 155569"/>
                <a:gd name="connsiteX34" fmla="*/ 20826 w 77155"/>
                <a:gd name="connsiteY34" fmla="*/ 142286 h 155569"/>
                <a:gd name="connsiteX35" fmla="*/ 24603 w 77155"/>
                <a:gd name="connsiteY35" fmla="*/ 132826 h 155569"/>
                <a:gd name="connsiteX36" fmla="*/ 28794 w 77155"/>
                <a:gd name="connsiteY36" fmla="*/ 129961 h 155569"/>
                <a:gd name="connsiteX37" fmla="*/ 39212 w 77155"/>
                <a:gd name="connsiteY37" fmla="*/ 129961 h 155569"/>
                <a:gd name="connsiteX38" fmla="*/ 43463 w 77155"/>
                <a:gd name="connsiteY38" fmla="*/ 132826 h 155569"/>
                <a:gd name="connsiteX39" fmla="*/ 46272 w 77155"/>
                <a:gd name="connsiteY39" fmla="*/ 137077 h 155569"/>
                <a:gd name="connsiteX40" fmla="*/ 46272 w 77155"/>
                <a:gd name="connsiteY40" fmla="*/ 147546 h 155569"/>
                <a:gd name="connsiteX41" fmla="*/ 39212 w 77155"/>
                <a:gd name="connsiteY41" fmla="*/ 154559 h 155569"/>
                <a:gd name="connsiteX42" fmla="*/ 28794 w 77155"/>
                <a:gd name="connsiteY42" fmla="*/ 154559 h 155569"/>
                <a:gd name="connsiteX43" fmla="*/ 24603 w 77155"/>
                <a:gd name="connsiteY43" fmla="*/ 151741 h 155569"/>
                <a:gd name="connsiteX44" fmla="*/ 20826 w 77155"/>
                <a:gd name="connsiteY44" fmla="*/ 142286 h 15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77155" h="155569">
                  <a:moveTo>
                    <a:pt x="0" y="15303"/>
                  </a:moveTo>
                  <a:cubicBezTo>
                    <a:pt x="2282" y="13181"/>
                    <a:pt x="4717" y="11229"/>
                    <a:pt x="7283" y="9461"/>
                  </a:cubicBezTo>
                  <a:cubicBezTo>
                    <a:pt x="10033" y="7569"/>
                    <a:pt x="12950" y="5933"/>
                    <a:pt x="15999" y="4573"/>
                  </a:cubicBezTo>
                  <a:cubicBezTo>
                    <a:pt x="19273" y="3112"/>
                    <a:pt x="22688" y="1991"/>
                    <a:pt x="26191" y="1225"/>
                  </a:cubicBezTo>
                  <a:cubicBezTo>
                    <a:pt x="30084" y="384"/>
                    <a:pt x="34058" y="-26"/>
                    <a:pt x="38041" y="2"/>
                  </a:cubicBezTo>
                  <a:cubicBezTo>
                    <a:pt x="43330" y="-46"/>
                    <a:pt x="48592" y="781"/>
                    <a:pt x="53612" y="2448"/>
                  </a:cubicBezTo>
                  <a:cubicBezTo>
                    <a:pt x="58141" y="3935"/>
                    <a:pt x="62341" y="6280"/>
                    <a:pt x="65984" y="9355"/>
                  </a:cubicBezTo>
                  <a:cubicBezTo>
                    <a:pt x="69463" y="12333"/>
                    <a:pt x="72256" y="16030"/>
                    <a:pt x="74169" y="20191"/>
                  </a:cubicBezTo>
                  <a:cubicBezTo>
                    <a:pt x="76206" y="24696"/>
                    <a:pt x="77223" y="29595"/>
                    <a:pt x="77146" y="34539"/>
                  </a:cubicBezTo>
                  <a:cubicBezTo>
                    <a:pt x="77256" y="39290"/>
                    <a:pt x="76444" y="44017"/>
                    <a:pt x="74755" y="48459"/>
                  </a:cubicBezTo>
                  <a:cubicBezTo>
                    <a:pt x="73277" y="52168"/>
                    <a:pt x="71235" y="55625"/>
                    <a:pt x="68700" y="58709"/>
                  </a:cubicBezTo>
                  <a:cubicBezTo>
                    <a:pt x="66339" y="61570"/>
                    <a:pt x="63644" y="64139"/>
                    <a:pt x="60673" y="66360"/>
                  </a:cubicBezTo>
                  <a:cubicBezTo>
                    <a:pt x="57770" y="68523"/>
                    <a:pt x="55061" y="70560"/>
                    <a:pt x="52543" y="72472"/>
                  </a:cubicBezTo>
                  <a:cubicBezTo>
                    <a:pt x="50231" y="74205"/>
                    <a:pt x="48065" y="76125"/>
                    <a:pt x="46066" y="78211"/>
                  </a:cubicBezTo>
                  <a:cubicBezTo>
                    <a:pt x="44346" y="79932"/>
                    <a:pt x="43244" y="82174"/>
                    <a:pt x="42931" y="84587"/>
                  </a:cubicBezTo>
                  <a:lnTo>
                    <a:pt x="41014" y="100842"/>
                  </a:lnTo>
                  <a:lnTo>
                    <a:pt x="28048" y="100842"/>
                  </a:lnTo>
                  <a:lnTo>
                    <a:pt x="26773" y="83206"/>
                  </a:lnTo>
                  <a:lnTo>
                    <a:pt x="26773" y="82034"/>
                  </a:lnTo>
                  <a:cubicBezTo>
                    <a:pt x="26729" y="79211"/>
                    <a:pt x="27565" y="76444"/>
                    <a:pt x="29164" y="74118"/>
                  </a:cubicBezTo>
                  <a:cubicBezTo>
                    <a:pt x="30880" y="71695"/>
                    <a:pt x="32917" y="69516"/>
                    <a:pt x="35219" y="67641"/>
                  </a:cubicBezTo>
                  <a:cubicBezTo>
                    <a:pt x="37666" y="65622"/>
                    <a:pt x="40290" y="63602"/>
                    <a:pt x="43089" y="61581"/>
                  </a:cubicBezTo>
                  <a:cubicBezTo>
                    <a:pt x="45882" y="59562"/>
                    <a:pt x="48510" y="57324"/>
                    <a:pt x="50949" y="54889"/>
                  </a:cubicBezTo>
                  <a:cubicBezTo>
                    <a:pt x="53395" y="52444"/>
                    <a:pt x="55438" y="49628"/>
                    <a:pt x="57004" y="46545"/>
                  </a:cubicBezTo>
                  <a:cubicBezTo>
                    <a:pt x="58673" y="43106"/>
                    <a:pt x="59493" y="39317"/>
                    <a:pt x="59395" y="35496"/>
                  </a:cubicBezTo>
                  <a:cubicBezTo>
                    <a:pt x="59432" y="32632"/>
                    <a:pt x="58815" y="29798"/>
                    <a:pt x="57591" y="27209"/>
                  </a:cubicBezTo>
                  <a:cubicBezTo>
                    <a:pt x="56422" y="24784"/>
                    <a:pt x="54759" y="22631"/>
                    <a:pt x="52707" y="20888"/>
                  </a:cubicBezTo>
                  <a:cubicBezTo>
                    <a:pt x="50559" y="19102"/>
                    <a:pt x="48086" y="17749"/>
                    <a:pt x="45423" y="16903"/>
                  </a:cubicBezTo>
                  <a:cubicBezTo>
                    <a:pt x="42524" y="15967"/>
                    <a:pt x="39494" y="15501"/>
                    <a:pt x="36447" y="15522"/>
                  </a:cubicBezTo>
                  <a:cubicBezTo>
                    <a:pt x="32682" y="15437"/>
                    <a:pt x="28930" y="15976"/>
                    <a:pt x="25341" y="17116"/>
                  </a:cubicBezTo>
                  <a:cubicBezTo>
                    <a:pt x="22624" y="18015"/>
                    <a:pt x="20007" y="19190"/>
                    <a:pt x="17530" y="20623"/>
                  </a:cubicBezTo>
                  <a:cubicBezTo>
                    <a:pt x="15735" y="21673"/>
                    <a:pt x="14013" y="22845"/>
                    <a:pt x="12377" y="24131"/>
                  </a:cubicBezTo>
                  <a:cubicBezTo>
                    <a:pt x="11496" y="24994"/>
                    <a:pt x="10360" y="25551"/>
                    <a:pt x="9138" y="25721"/>
                  </a:cubicBezTo>
                  <a:cubicBezTo>
                    <a:pt x="7408" y="25747"/>
                    <a:pt x="5808" y="24805"/>
                    <a:pt x="4990" y="23279"/>
                  </a:cubicBezTo>
                  <a:close/>
                  <a:moveTo>
                    <a:pt x="20826" y="142286"/>
                  </a:moveTo>
                  <a:cubicBezTo>
                    <a:pt x="20811" y="138762"/>
                    <a:pt x="22165" y="135370"/>
                    <a:pt x="24603" y="132826"/>
                  </a:cubicBezTo>
                  <a:cubicBezTo>
                    <a:pt x="25799" y="131606"/>
                    <a:pt x="27223" y="130633"/>
                    <a:pt x="28794" y="129961"/>
                  </a:cubicBezTo>
                  <a:cubicBezTo>
                    <a:pt x="32121" y="128541"/>
                    <a:pt x="35884" y="128541"/>
                    <a:pt x="39212" y="129961"/>
                  </a:cubicBezTo>
                  <a:cubicBezTo>
                    <a:pt x="40796" y="130641"/>
                    <a:pt x="42238" y="131613"/>
                    <a:pt x="43463" y="132826"/>
                  </a:cubicBezTo>
                  <a:cubicBezTo>
                    <a:pt x="44671" y="134044"/>
                    <a:pt x="45626" y="135489"/>
                    <a:pt x="46272" y="137077"/>
                  </a:cubicBezTo>
                  <a:cubicBezTo>
                    <a:pt x="47623" y="140436"/>
                    <a:pt x="47623" y="144187"/>
                    <a:pt x="46272" y="147546"/>
                  </a:cubicBezTo>
                  <a:cubicBezTo>
                    <a:pt x="44950" y="150733"/>
                    <a:pt x="42407" y="153258"/>
                    <a:pt x="39212" y="154559"/>
                  </a:cubicBezTo>
                  <a:cubicBezTo>
                    <a:pt x="35870" y="155906"/>
                    <a:pt x="32136" y="155906"/>
                    <a:pt x="28794" y="154559"/>
                  </a:cubicBezTo>
                  <a:cubicBezTo>
                    <a:pt x="27218" y="153918"/>
                    <a:pt x="25791" y="152958"/>
                    <a:pt x="24603" y="151741"/>
                  </a:cubicBezTo>
                  <a:cubicBezTo>
                    <a:pt x="22141" y="149214"/>
                    <a:pt x="20783" y="145813"/>
                    <a:pt x="20826" y="142286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</p:grpSp>
      <p:grpSp>
        <p:nvGrpSpPr>
          <p:cNvPr id="150" name="Gruppieren 149"/>
          <p:cNvGrpSpPr/>
          <p:nvPr/>
        </p:nvGrpSpPr>
        <p:grpSpPr>
          <a:xfrm>
            <a:off x="2408368" y="4202526"/>
            <a:ext cx="479852" cy="178421"/>
            <a:chOff x="3716777" y="1298527"/>
            <a:chExt cx="360000" cy="133857"/>
          </a:xfrm>
        </p:grpSpPr>
        <p:cxnSp>
          <p:nvCxnSpPr>
            <p:cNvPr id="151" name="Gerade Verbindung mit Pfeil 150">
              <a:extLst>
                <a:ext uri="{FF2B5EF4-FFF2-40B4-BE49-F238E27FC236}">
                  <a16:creationId xmlns:a16="http://schemas.microsoft.com/office/drawing/2014/main" id="{FA0A0170-C11C-9E4C-A41A-8FC52913BD35}"/>
                </a:ext>
              </a:extLst>
            </p:cNvPr>
            <p:cNvCxnSpPr/>
            <p:nvPr/>
          </p:nvCxnSpPr>
          <p:spPr>
            <a:xfrm>
              <a:off x="3716777" y="1430893"/>
              <a:ext cx="360000" cy="1491"/>
            </a:xfrm>
            <a:prstGeom prst="straightConnector1">
              <a:avLst/>
            </a:prstGeom>
            <a:ln w="9525">
              <a:solidFill>
                <a:srgbClr val="0061A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Gerade Verbindung mit Pfeil 151">
              <a:extLst>
                <a:ext uri="{FF2B5EF4-FFF2-40B4-BE49-F238E27FC236}">
                  <a16:creationId xmlns:a16="http://schemas.microsoft.com/office/drawing/2014/main" id="{FA0A0170-C11C-9E4C-A41A-8FC52913BD35}"/>
                </a:ext>
              </a:extLst>
            </p:cNvPr>
            <p:cNvCxnSpPr/>
            <p:nvPr/>
          </p:nvCxnSpPr>
          <p:spPr>
            <a:xfrm rot="10800000">
              <a:off x="3716777" y="1298527"/>
              <a:ext cx="360000" cy="1491"/>
            </a:xfrm>
            <a:prstGeom prst="straightConnector1">
              <a:avLst/>
            </a:prstGeom>
            <a:ln w="9525">
              <a:solidFill>
                <a:srgbClr val="0061A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4" name="Gruppieren 103"/>
          <p:cNvGrpSpPr/>
          <p:nvPr/>
        </p:nvGrpSpPr>
        <p:grpSpPr>
          <a:xfrm>
            <a:off x="5900767" y="3850870"/>
            <a:ext cx="648000" cy="648000"/>
            <a:chOff x="7785990" y="2489744"/>
            <a:chExt cx="408357" cy="408357"/>
          </a:xfrm>
        </p:grpSpPr>
        <p:sp>
          <p:nvSpPr>
            <p:cNvPr id="105" name="Freeform: Shape 374">
              <a:extLst>
                <a:ext uri="{FF2B5EF4-FFF2-40B4-BE49-F238E27FC236}">
                  <a16:creationId xmlns:a16="http://schemas.microsoft.com/office/drawing/2014/main" id="{4940B74F-2D91-4C50-85F6-16E4769F493C}"/>
                </a:ext>
              </a:extLst>
            </p:cNvPr>
            <p:cNvSpPr/>
            <p:nvPr/>
          </p:nvSpPr>
          <p:spPr>
            <a:xfrm>
              <a:off x="7785990" y="2489744"/>
              <a:ext cx="408357" cy="408357"/>
            </a:xfrm>
            <a:custGeom>
              <a:avLst/>
              <a:gdLst>
                <a:gd name="connsiteX0" fmla="*/ 0 w 306268"/>
                <a:gd name="connsiteY0" fmla="*/ 0 h 306268"/>
                <a:gd name="connsiteX1" fmla="*/ 306269 w 306268"/>
                <a:gd name="connsiteY1" fmla="*/ 0 h 306268"/>
                <a:gd name="connsiteX2" fmla="*/ 306269 w 306268"/>
                <a:gd name="connsiteY2" fmla="*/ 306269 h 306268"/>
                <a:gd name="connsiteX3" fmla="*/ 0 w 306268"/>
                <a:gd name="connsiteY3" fmla="*/ 306269 h 3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268" h="306268">
                  <a:moveTo>
                    <a:pt x="0" y="0"/>
                  </a:moveTo>
                  <a:lnTo>
                    <a:pt x="306269" y="0"/>
                  </a:lnTo>
                  <a:lnTo>
                    <a:pt x="306269" y="306269"/>
                  </a:lnTo>
                  <a:lnTo>
                    <a:pt x="0" y="306269"/>
                  </a:lnTo>
                  <a:close/>
                </a:path>
              </a:pathLst>
            </a:custGeom>
            <a:noFill/>
            <a:ln w="19050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106" name="Freeform: Shape 375">
              <a:extLst>
                <a:ext uri="{FF2B5EF4-FFF2-40B4-BE49-F238E27FC236}">
                  <a16:creationId xmlns:a16="http://schemas.microsoft.com/office/drawing/2014/main" id="{14D0997A-9257-4B14-8C8F-0FC6567A3872}"/>
                </a:ext>
              </a:extLst>
            </p:cNvPr>
            <p:cNvSpPr/>
            <p:nvPr/>
          </p:nvSpPr>
          <p:spPr>
            <a:xfrm>
              <a:off x="7863774" y="2598041"/>
              <a:ext cx="252787" cy="191757"/>
            </a:xfrm>
            <a:custGeom>
              <a:avLst/>
              <a:gdLst>
                <a:gd name="connsiteX0" fmla="*/ 8569 w 189590"/>
                <a:gd name="connsiteY0" fmla="*/ 13392 h 143818"/>
                <a:gd name="connsiteX1" fmla="*/ 36082 w 189590"/>
                <a:gd name="connsiteY1" fmla="*/ 7017 h 143818"/>
                <a:gd name="connsiteX2" fmla="*/ 94783 w 189590"/>
                <a:gd name="connsiteY2" fmla="*/ 11896 h 143818"/>
                <a:gd name="connsiteX3" fmla="*/ 153524 w 189590"/>
                <a:gd name="connsiteY3" fmla="*/ 7017 h 143818"/>
                <a:gd name="connsiteX4" fmla="*/ 181659 w 189590"/>
                <a:gd name="connsiteY4" fmla="*/ 13320 h 143818"/>
                <a:gd name="connsiteX5" fmla="*/ 189533 w 189590"/>
                <a:gd name="connsiteY5" fmla="*/ 19922 h 143818"/>
                <a:gd name="connsiteX6" fmla="*/ 189552 w 189590"/>
                <a:gd name="connsiteY6" fmla="*/ 20559 h 143818"/>
                <a:gd name="connsiteX7" fmla="*/ 189590 w 189590"/>
                <a:gd name="connsiteY7" fmla="*/ 20559 h 143818"/>
                <a:gd name="connsiteX8" fmla="*/ 189590 w 189590"/>
                <a:gd name="connsiteY8" fmla="*/ 136383 h 143818"/>
                <a:gd name="connsiteX9" fmla="*/ 182368 w 189590"/>
                <a:gd name="connsiteY9" fmla="*/ 143658 h 143818"/>
                <a:gd name="connsiteX10" fmla="*/ 182366 w 189590"/>
                <a:gd name="connsiteY10" fmla="*/ 143658 h 143818"/>
                <a:gd name="connsiteX11" fmla="*/ 182240 w 189590"/>
                <a:gd name="connsiteY11" fmla="*/ 143658 h 143818"/>
                <a:gd name="connsiteX12" fmla="*/ 147544 w 189590"/>
                <a:gd name="connsiteY12" fmla="*/ 136122 h 143818"/>
                <a:gd name="connsiteX13" fmla="*/ 98817 w 189590"/>
                <a:gd name="connsiteY13" fmla="*/ 142460 h 143818"/>
                <a:gd name="connsiteX14" fmla="*/ 90790 w 189590"/>
                <a:gd name="connsiteY14" fmla="*/ 142460 h 143818"/>
                <a:gd name="connsiteX15" fmla="*/ 42066 w 189590"/>
                <a:gd name="connsiteY15" fmla="*/ 136122 h 143818"/>
                <a:gd name="connsiteX16" fmla="*/ 6676 w 189590"/>
                <a:gd name="connsiteY16" fmla="*/ 143624 h 143818"/>
                <a:gd name="connsiteX17" fmla="*/ 34 w 189590"/>
                <a:gd name="connsiteY17" fmla="*/ 136385 h 143818"/>
                <a:gd name="connsiteX18" fmla="*/ 0 w 189590"/>
                <a:gd name="connsiteY18" fmla="*/ 136385 h 143818"/>
                <a:gd name="connsiteX19" fmla="*/ 0 w 189590"/>
                <a:gd name="connsiteY19" fmla="*/ 20561 h 143818"/>
                <a:gd name="connsiteX20" fmla="*/ 7294 w 189590"/>
                <a:gd name="connsiteY20" fmla="*/ 13245 h 143818"/>
                <a:gd name="connsiteX21" fmla="*/ 8570 w 189590"/>
                <a:gd name="connsiteY21" fmla="*/ 13395 h 143818"/>
                <a:gd name="connsiteX22" fmla="*/ 166303 w 189590"/>
                <a:gd name="connsiteY22" fmla="*/ 62457 h 143818"/>
                <a:gd name="connsiteX23" fmla="*/ 166303 w 189590"/>
                <a:gd name="connsiteY23" fmla="*/ 62457 h 143818"/>
                <a:gd name="connsiteX24" fmla="*/ 152349 w 189590"/>
                <a:gd name="connsiteY24" fmla="*/ 57130 h 143818"/>
                <a:gd name="connsiteX25" fmla="*/ 110243 w 189590"/>
                <a:gd name="connsiteY25" fmla="*/ 54653 h 143818"/>
                <a:gd name="connsiteX26" fmla="*/ 107821 w 189590"/>
                <a:gd name="connsiteY26" fmla="*/ 60311 h 143818"/>
                <a:gd name="connsiteX27" fmla="*/ 113479 w 189590"/>
                <a:gd name="connsiteY27" fmla="*/ 62734 h 143818"/>
                <a:gd name="connsiteX28" fmla="*/ 113524 w 189590"/>
                <a:gd name="connsiteY28" fmla="*/ 62715 h 143818"/>
                <a:gd name="connsiteX29" fmla="*/ 148726 w 189590"/>
                <a:gd name="connsiteY29" fmla="*/ 65117 h 143818"/>
                <a:gd name="connsiteX30" fmla="*/ 164144 w 189590"/>
                <a:gd name="connsiteY30" fmla="*/ 70927 h 143818"/>
                <a:gd name="connsiteX31" fmla="*/ 169474 w 189590"/>
                <a:gd name="connsiteY31" fmla="*/ 67787 h 143818"/>
                <a:gd name="connsiteX32" fmla="*/ 166333 w 189590"/>
                <a:gd name="connsiteY32" fmla="*/ 62458 h 143818"/>
                <a:gd name="connsiteX33" fmla="*/ 166303 w 189590"/>
                <a:gd name="connsiteY33" fmla="*/ 62450 h 143818"/>
                <a:gd name="connsiteX34" fmla="*/ 166303 w 189590"/>
                <a:gd name="connsiteY34" fmla="*/ 83836 h 143818"/>
                <a:gd name="connsiteX35" fmla="*/ 166303 w 189590"/>
                <a:gd name="connsiteY35" fmla="*/ 83836 h 143818"/>
                <a:gd name="connsiteX36" fmla="*/ 152349 w 189590"/>
                <a:gd name="connsiteY36" fmla="*/ 78548 h 143818"/>
                <a:gd name="connsiteX37" fmla="*/ 110243 w 189590"/>
                <a:gd name="connsiteY37" fmla="*/ 76035 h 143818"/>
                <a:gd name="connsiteX38" fmla="*/ 107906 w 189590"/>
                <a:gd name="connsiteY38" fmla="*/ 81731 h 143818"/>
                <a:gd name="connsiteX39" fmla="*/ 113524 w 189590"/>
                <a:gd name="connsiteY39" fmla="*/ 84101 h 143818"/>
                <a:gd name="connsiteX40" fmla="*/ 148726 w 189590"/>
                <a:gd name="connsiteY40" fmla="*/ 86502 h 143818"/>
                <a:gd name="connsiteX41" fmla="*/ 164145 w 189590"/>
                <a:gd name="connsiteY41" fmla="*/ 92312 h 143818"/>
                <a:gd name="connsiteX42" fmla="*/ 169474 w 189590"/>
                <a:gd name="connsiteY42" fmla="*/ 89172 h 143818"/>
                <a:gd name="connsiteX43" fmla="*/ 166334 w 189590"/>
                <a:gd name="connsiteY43" fmla="*/ 83843 h 143818"/>
                <a:gd name="connsiteX44" fmla="*/ 166303 w 189590"/>
                <a:gd name="connsiteY44" fmla="*/ 83835 h 143818"/>
                <a:gd name="connsiteX45" fmla="*/ 166303 w 189590"/>
                <a:gd name="connsiteY45" fmla="*/ 105253 h 143818"/>
                <a:gd name="connsiteX46" fmla="*/ 166303 w 189590"/>
                <a:gd name="connsiteY46" fmla="*/ 105253 h 143818"/>
                <a:gd name="connsiteX47" fmla="*/ 152349 w 189590"/>
                <a:gd name="connsiteY47" fmla="*/ 99929 h 143818"/>
                <a:gd name="connsiteX48" fmla="*/ 110243 w 189590"/>
                <a:gd name="connsiteY48" fmla="*/ 97412 h 143818"/>
                <a:gd name="connsiteX49" fmla="*/ 107862 w 189590"/>
                <a:gd name="connsiteY49" fmla="*/ 103117 h 143818"/>
                <a:gd name="connsiteX50" fmla="*/ 113470 w 189590"/>
                <a:gd name="connsiteY50" fmla="*/ 105498 h 143818"/>
                <a:gd name="connsiteX51" fmla="*/ 113524 w 189590"/>
                <a:gd name="connsiteY51" fmla="*/ 105475 h 143818"/>
                <a:gd name="connsiteX52" fmla="*/ 148726 w 189590"/>
                <a:gd name="connsiteY52" fmla="*/ 107876 h 143818"/>
                <a:gd name="connsiteX53" fmla="*/ 164145 w 189590"/>
                <a:gd name="connsiteY53" fmla="*/ 113730 h 143818"/>
                <a:gd name="connsiteX54" fmla="*/ 169472 w 189590"/>
                <a:gd name="connsiteY54" fmla="*/ 110538 h 143818"/>
                <a:gd name="connsiteX55" fmla="*/ 166341 w 189590"/>
                <a:gd name="connsiteY55" fmla="*/ 105259 h 143818"/>
                <a:gd name="connsiteX56" fmla="*/ 166303 w 189590"/>
                <a:gd name="connsiteY56" fmla="*/ 105249 h 143818"/>
                <a:gd name="connsiteX57" fmla="*/ 166303 w 189590"/>
                <a:gd name="connsiteY57" fmla="*/ 41074 h 143818"/>
                <a:gd name="connsiteX58" fmla="*/ 166303 w 189590"/>
                <a:gd name="connsiteY58" fmla="*/ 41074 h 143818"/>
                <a:gd name="connsiteX59" fmla="*/ 152349 w 189590"/>
                <a:gd name="connsiteY59" fmla="*/ 35750 h 143818"/>
                <a:gd name="connsiteX60" fmla="*/ 110243 w 189590"/>
                <a:gd name="connsiteY60" fmla="*/ 33273 h 143818"/>
                <a:gd name="connsiteX61" fmla="*/ 107906 w 189590"/>
                <a:gd name="connsiteY61" fmla="*/ 38970 h 143818"/>
                <a:gd name="connsiteX62" fmla="*/ 113524 w 189590"/>
                <a:gd name="connsiteY62" fmla="*/ 41339 h 143818"/>
                <a:gd name="connsiteX63" fmla="*/ 148726 w 189590"/>
                <a:gd name="connsiteY63" fmla="*/ 43740 h 143818"/>
                <a:gd name="connsiteX64" fmla="*/ 164145 w 189590"/>
                <a:gd name="connsiteY64" fmla="*/ 49555 h 143818"/>
                <a:gd name="connsiteX65" fmla="*/ 169506 w 189590"/>
                <a:gd name="connsiteY65" fmla="*/ 46463 h 143818"/>
                <a:gd name="connsiteX66" fmla="*/ 166415 w 189590"/>
                <a:gd name="connsiteY66" fmla="*/ 41102 h 143818"/>
                <a:gd name="connsiteX67" fmla="*/ 166362 w 189590"/>
                <a:gd name="connsiteY67" fmla="*/ 41089 h 143818"/>
                <a:gd name="connsiteX68" fmla="*/ 166303 w 189590"/>
                <a:gd name="connsiteY68" fmla="*/ 41073 h 143818"/>
                <a:gd name="connsiteX69" fmla="*/ 25435 w 189590"/>
                <a:gd name="connsiteY69" fmla="*/ 70934 h 143818"/>
                <a:gd name="connsiteX70" fmla="*/ 25435 w 189590"/>
                <a:gd name="connsiteY70" fmla="*/ 70934 h 143818"/>
                <a:gd name="connsiteX71" fmla="*/ 40865 w 189590"/>
                <a:gd name="connsiteY71" fmla="*/ 65124 h 143818"/>
                <a:gd name="connsiteX72" fmla="*/ 76068 w 189590"/>
                <a:gd name="connsiteY72" fmla="*/ 62723 h 143818"/>
                <a:gd name="connsiteX73" fmla="*/ 81714 w 189590"/>
                <a:gd name="connsiteY73" fmla="*/ 60257 h 143818"/>
                <a:gd name="connsiteX74" fmla="*/ 79371 w 189590"/>
                <a:gd name="connsiteY74" fmla="*/ 54661 h 143818"/>
                <a:gd name="connsiteX75" fmla="*/ 37248 w 189590"/>
                <a:gd name="connsiteY75" fmla="*/ 57137 h 143818"/>
                <a:gd name="connsiteX76" fmla="*/ 23274 w 189590"/>
                <a:gd name="connsiteY76" fmla="*/ 62465 h 143818"/>
                <a:gd name="connsiteX77" fmla="*/ 20095 w 189590"/>
                <a:gd name="connsiteY77" fmla="*/ 67771 h 143818"/>
                <a:gd name="connsiteX78" fmla="*/ 25401 w 189590"/>
                <a:gd name="connsiteY78" fmla="*/ 70950 h 143818"/>
                <a:gd name="connsiteX79" fmla="*/ 25432 w 189590"/>
                <a:gd name="connsiteY79" fmla="*/ 70942 h 143818"/>
                <a:gd name="connsiteX80" fmla="*/ 25435 w 189590"/>
                <a:gd name="connsiteY80" fmla="*/ 92313 h 143818"/>
                <a:gd name="connsiteX81" fmla="*/ 25435 w 189590"/>
                <a:gd name="connsiteY81" fmla="*/ 92313 h 143818"/>
                <a:gd name="connsiteX82" fmla="*/ 40865 w 189590"/>
                <a:gd name="connsiteY82" fmla="*/ 86503 h 143818"/>
                <a:gd name="connsiteX83" fmla="*/ 76068 w 189590"/>
                <a:gd name="connsiteY83" fmla="*/ 84102 h 143818"/>
                <a:gd name="connsiteX84" fmla="*/ 81711 w 189590"/>
                <a:gd name="connsiteY84" fmla="*/ 81622 h 143818"/>
                <a:gd name="connsiteX85" fmla="*/ 79371 w 189590"/>
                <a:gd name="connsiteY85" fmla="*/ 76036 h 143818"/>
                <a:gd name="connsiteX86" fmla="*/ 37248 w 189590"/>
                <a:gd name="connsiteY86" fmla="*/ 78548 h 143818"/>
                <a:gd name="connsiteX87" fmla="*/ 23274 w 189590"/>
                <a:gd name="connsiteY87" fmla="*/ 83837 h 143818"/>
                <a:gd name="connsiteX88" fmla="*/ 20095 w 189590"/>
                <a:gd name="connsiteY88" fmla="*/ 89143 h 143818"/>
                <a:gd name="connsiteX89" fmla="*/ 25401 w 189590"/>
                <a:gd name="connsiteY89" fmla="*/ 92322 h 143818"/>
                <a:gd name="connsiteX90" fmla="*/ 25432 w 189590"/>
                <a:gd name="connsiteY90" fmla="*/ 92314 h 143818"/>
                <a:gd name="connsiteX91" fmla="*/ 25473 w 189590"/>
                <a:gd name="connsiteY91" fmla="*/ 113735 h 143818"/>
                <a:gd name="connsiteX92" fmla="*/ 25473 w 189590"/>
                <a:gd name="connsiteY92" fmla="*/ 113735 h 143818"/>
                <a:gd name="connsiteX93" fmla="*/ 40867 w 189590"/>
                <a:gd name="connsiteY93" fmla="*/ 107881 h 143818"/>
                <a:gd name="connsiteX94" fmla="*/ 76110 w 189590"/>
                <a:gd name="connsiteY94" fmla="*/ 105481 h 143818"/>
                <a:gd name="connsiteX95" fmla="*/ 81739 w 189590"/>
                <a:gd name="connsiteY95" fmla="*/ 103160 h 143818"/>
                <a:gd name="connsiteX96" fmla="*/ 81739 w 189590"/>
                <a:gd name="connsiteY96" fmla="*/ 103160 h 143818"/>
                <a:gd name="connsiteX97" fmla="*/ 81756 w 189590"/>
                <a:gd name="connsiteY97" fmla="*/ 103118 h 143818"/>
                <a:gd name="connsiteX98" fmla="*/ 79375 w 189590"/>
                <a:gd name="connsiteY98" fmla="*/ 97415 h 143818"/>
                <a:gd name="connsiteX99" fmla="*/ 37251 w 189590"/>
                <a:gd name="connsiteY99" fmla="*/ 99931 h 143818"/>
                <a:gd name="connsiteX100" fmla="*/ 23277 w 189590"/>
                <a:gd name="connsiteY100" fmla="*/ 105256 h 143818"/>
                <a:gd name="connsiteX101" fmla="*/ 20128 w 189590"/>
                <a:gd name="connsiteY101" fmla="*/ 110544 h 143818"/>
                <a:gd name="connsiteX102" fmla="*/ 25474 w 189590"/>
                <a:gd name="connsiteY102" fmla="*/ 113736 h 143818"/>
                <a:gd name="connsiteX103" fmla="*/ 25473 w 189590"/>
                <a:gd name="connsiteY103" fmla="*/ 49556 h 143818"/>
                <a:gd name="connsiteX104" fmla="*/ 25473 w 189590"/>
                <a:gd name="connsiteY104" fmla="*/ 49556 h 143818"/>
                <a:gd name="connsiteX105" fmla="*/ 40867 w 189590"/>
                <a:gd name="connsiteY105" fmla="*/ 43741 h 143818"/>
                <a:gd name="connsiteX106" fmla="*/ 76110 w 189590"/>
                <a:gd name="connsiteY106" fmla="*/ 41340 h 143818"/>
                <a:gd name="connsiteX107" fmla="*/ 81751 w 189590"/>
                <a:gd name="connsiteY107" fmla="*/ 38883 h 143818"/>
                <a:gd name="connsiteX108" fmla="*/ 79375 w 189590"/>
                <a:gd name="connsiteY108" fmla="*/ 33274 h 143818"/>
                <a:gd name="connsiteX109" fmla="*/ 37251 w 189590"/>
                <a:gd name="connsiteY109" fmla="*/ 35751 h 143818"/>
                <a:gd name="connsiteX110" fmla="*/ 23278 w 189590"/>
                <a:gd name="connsiteY110" fmla="*/ 41074 h 143818"/>
                <a:gd name="connsiteX111" fmla="*/ 19943 w 189590"/>
                <a:gd name="connsiteY111" fmla="*/ 46297 h 143818"/>
                <a:gd name="connsiteX112" fmla="*/ 25165 w 189590"/>
                <a:gd name="connsiteY112" fmla="*/ 49632 h 143818"/>
                <a:gd name="connsiteX113" fmla="*/ 25474 w 189590"/>
                <a:gd name="connsiteY113" fmla="*/ 49552 h 143818"/>
                <a:gd name="connsiteX114" fmla="*/ 99177 w 189590"/>
                <a:gd name="connsiteY114" fmla="*/ 26373 h 143818"/>
                <a:gd name="connsiteX115" fmla="*/ 99177 w 189590"/>
                <a:gd name="connsiteY115" fmla="*/ 26373 h 143818"/>
                <a:gd name="connsiteX116" fmla="*/ 99177 w 189590"/>
                <a:gd name="connsiteY116" fmla="*/ 125174 h 143818"/>
                <a:gd name="connsiteX117" fmla="*/ 153528 w 189590"/>
                <a:gd name="connsiteY117" fmla="*/ 122851 h 143818"/>
                <a:gd name="connsiteX118" fmla="*/ 175022 w 189590"/>
                <a:gd name="connsiteY118" fmla="*/ 129262 h 143818"/>
                <a:gd name="connsiteX119" fmla="*/ 175022 w 189590"/>
                <a:gd name="connsiteY119" fmla="*/ 27987 h 143818"/>
                <a:gd name="connsiteX120" fmla="*/ 147547 w 189590"/>
                <a:gd name="connsiteY120" fmla="*/ 20298 h 143818"/>
                <a:gd name="connsiteX121" fmla="*/ 99177 w 189590"/>
                <a:gd name="connsiteY121" fmla="*/ 26374 h 143818"/>
                <a:gd name="connsiteX122" fmla="*/ 90439 w 189590"/>
                <a:gd name="connsiteY122" fmla="*/ 125174 h 143818"/>
                <a:gd name="connsiteX123" fmla="*/ 90439 w 189590"/>
                <a:gd name="connsiteY123" fmla="*/ 125174 h 143818"/>
                <a:gd name="connsiteX124" fmla="*/ 90439 w 189590"/>
                <a:gd name="connsiteY124" fmla="*/ 26373 h 143818"/>
                <a:gd name="connsiteX125" fmla="*/ 42070 w 189590"/>
                <a:gd name="connsiteY125" fmla="*/ 20297 h 143818"/>
                <a:gd name="connsiteX126" fmla="*/ 14576 w 189590"/>
                <a:gd name="connsiteY126" fmla="*/ 27985 h 143818"/>
                <a:gd name="connsiteX127" fmla="*/ 14576 w 189590"/>
                <a:gd name="connsiteY127" fmla="*/ 129264 h 143818"/>
                <a:gd name="connsiteX128" fmla="*/ 36086 w 189590"/>
                <a:gd name="connsiteY128" fmla="*/ 122853 h 143818"/>
                <a:gd name="connsiteX129" fmla="*/ 90439 w 189590"/>
                <a:gd name="connsiteY129" fmla="*/ 125176 h 14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189590" h="143818">
                  <a:moveTo>
                    <a:pt x="8569" y="13392"/>
                  </a:moveTo>
                  <a:cubicBezTo>
                    <a:pt x="18150" y="13819"/>
                    <a:pt x="27665" y="11615"/>
                    <a:pt x="36082" y="7017"/>
                  </a:cubicBezTo>
                  <a:cubicBezTo>
                    <a:pt x="54721" y="-3891"/>
                    <a:pt x="78200" y="-1940"/>
                    <a:pt x="94783" y="11896"/>
                  </a:cubicBezTo>
                  <a:cubicBezTo>
                    <a:pt x="111381" y="-1941"/>
                    <a:pt x="134871" y="-3892"/>
                    <a:pt x="153524" y="7017"/>
                  </a:cubicBezTo>
                  <a:cubicBezTo>
                    <a:pt x="162119" y="11731"/>
                    <a:pt x="171874" y="13916"/>
                    <a:pt x="181659" y="13320"/>
                  </a:cubicBezTo>
                  <a:cubicBezTo>
                    <a:pt x="185654" y="12977"/>
                    <a:pt x="189174" y="15929"/>
                    <a:pt x="189533" y="19922"/>
                  </a:cubicBezTo>
                  <a:lnTo>
                    <a:pt x="189552" y="20559"/>
                  </a:lnTo>
                  <a:lnTo>
                    <a:pt x="189590" y="20559"/>
                  </a:lnTo>
                  <a:lnTo>
                    <a:pt x="189590" y="136383"/>
                  </a:lnTo>
                  <a:cubicBezTo>
                    <a:pt x="189605" y="140387"/>
                    <a:pt x="186371" y="143643"/>
                    <a:pt x="182368" y="143658"/>
                  </a:cubicBezTo>
                  <a:cubicBezTo>
                    <a:pt x="182367" y="143658"/>
                    <a:pt x="182366" y="143658"/>
                    <a:pt x="182366" y="143658"/>
                  </a:cubicBezTo>
                  <a:lnTo>
                    <a:pt x="182240" y="143658"/>
                  </a:lnTo>
                  <a:cubicBezTo>
                    <a:pt x="170194" y="144496"/>
                    <a:pt x="158158" y="141882"/>
                    <a:pt x="147544" y="136122"/>
                  </a:cubicBezTo>
                  <a:cubicBezTo>
                    <a:pt x="135314" y="130607"/>
                    <a:pt x="124249" y="125578"/>
                    <a:pt x="98817" y="142460"/>
                  </a:cubicBezTo>
                  <a:cubicBezTo>
                    <a:pt x="96384" y="144073"/>
                    <a:pt x="93223" y="144073"/>
                    <a:pt x="90790" y="142460"/>
                  </a:cubicBezTo>
                  <a:cubicBezTo>
                    <a:pt x="65358" y="125578"/>
                    <a:pt x="54293" y="130607"/>
                    <a:pt x="42066" y="136122"/>
                  </a:cubicBezTo>
                  <a:cubicBezTo>
                    <a:pt x="31238" y="141978"/>
                    <a:pt x="18949" y="144583"/>
                    <a:pt x="6676" y="143624"/>
                  </a:cubicBezTo>
                  <a:cubicBezTo>
                    <a:pt x="2920" y="143300"/>
                    <a:pt x="35" y="140156"/>
                    <a:pt x="34" y="136385"/>
                  </a:cubicBezTo>
                  <a:lnTo>
                    <a:pt x="0" y="136385"/>
                  </a:lnTo>
                  <a:lnTo>
                    <a:pt x="0" y="20561"/>
                  </a:lnTo>
                  <a:cubicBezTo>
                    <a:pt x="10" y="16533"/>
                    <a:pt x="3266" y="13267"/>
                    <a:pt x="7294" y="13245"/>
                  </a:cubicBezTo>
                  <a:cubicBezTo>
                    <a:pt x="7723" y="13259"/>
                    <a:pt x="8150" y="13309"/>
                    <a:pt x="8570" y="13395"/>
                  </a:cubicBezTo>
                  <a:close/>
                  <a:moveTo>
                    <a:pt x="166303" y="62457"/>
                  </a:moveTo>
                  <a:lnTo>
                    <a:pt x="166303" y="62457"/>
                  </a:lnTo>
                  <a:cubicBezTo>
                    <a:pt x="161496" y="61120"/>
                    <a:pt x="156824" y="59336"/>
                    <a:pt x="152349" y="57130"/>
                  </a:cubicBezTo>
                  <a:cubicBezTo>
                    <a:pt x="139562" y="49472"/>
                    <a:pt x="123840" y="48547"/>
                    <a:pt x="110243" y="54653"/>
                  </a:cubicBezTo>
                  <a:cubicBezTo>
                    <a:pt x="108012" y="55547"/>
                    <a:pt x="106927" y="58080"/>
                    <a:pt x="107821" y="60311"/>
                  </a:cubicBezTo>
                  <a:cubicBezTo>
                    <a:pt x="108714" y="62542"/>
                    <a:pt x="111247" y="63627"/>
                    <a:pt x="113479" y="62734"/>
                  </a:cubicBezTo>
                  <a:cubicBezTo>
                    <a:pt x="113494" y="62728"/>
                    <a:pt x="113509" y="62722"/>
                    <a:pt x="113524" y="62715"/>
                  </a:cubicBezTo>
                  <a:cubicBezTo>
                    <a:pt x="124951" y="57752"/>
                    <a:pt x="138078" y="58647"/>
                    <a:pt x="148726" y="65117"/>
                  </a:cubicBezTo>
                  <a:cubicBezTo>
                    <a:pt x="153681" y="67512"/>
                    <a:pt x="158841" y="69457"/>
                    <a:pt x="164144" y="70927"/>
                  </a:cubicBezTo>
                  <a:cubicBezTo>
                    <a:pt x="166483" y="71531"/>
                    <a:pt x="168869" y="70126"/>
                    <a:pt x="169474" y="67787"/>
                  </a:cubicBezTo>
                  <a:cubicBezTo>
                    <a:pt x="170078" y="65448"/>
                    <a:pt x="168672" y="63062"/>
                    <a:pt x="166333" y="62458"/>
                  </a:cubicBezTo>
                  <a:cubicBezTo>
                    <a:pt x="166323" y="62455"/>
                    <a:pt x="166313" y="62452"/>
                    <a:pt x="166303" y="62450"/>
                  </a:cubicBezTo>
                  <a:close/>
                  <a:moveTo>
                    <a:pt x="166303" y="83836"/>
                  </a:moveTo>
                  <a:lnTo>
                    <a:pt x="166303" y="83836"/>
                  </a:lnTo>
                  <a:cubicBezTo>
                    <a:pt x="161508" y="82478"/>
                    <a:pt x="156839" y="80709"/>
                    <a:pt x="152349" y="78548"/>
                  </a:cubicBezTo>
                  <a:cubicBezTo>
                    <a:pt x="139574" y="70858"/>
                    <a:pt x="123842" y="69919"/>
                    <a:pt x="110243" y="76035"/>
                  </a:cubicBezTo>
                  <a:cubicBezTo>
                    <a:pt x="108025" y="76963"/>
                    <a:pt x="106978" y="79513"/>
                    <a:pt x="107906" y="81731"/>
                  </a:cubicBezTo>
                  <a:cubicBezTo>
                    <a:pt x="108821" y="83919"/>
                    <a:pt x="111318" y="84972"/>
                    <a:pt x="113524" y="84101"/>
                  </a:cubicBezTo>
                  <a:cubicBezTo>
                    <a:pt x="124951" y="79134"/>
                    <a:pt x="138079" y="80030"/>
                    <a:pt x="148726" y="86502"/>
                  </a:cubicBezTo>
                  <a:cubicBezTo>
                    <a:pt x="153681" y="88897"/>
                    <a:pt x="158841" y="90841"/>
                    <a:pt x="164145" y="92312"/>
                  </a:cubicBezTo>
                  <a:cubicBezTo>
                    <a:pt x="166483" y="92917"/>
                    <a:pt x="168869" y="91511"/>
                    <a:pt x="169474" y="89172"/>
                  </a:cubicBezTo>
                  <a:cubicBezTo>
                    <a:pt x="170079" y="86833"/>
                    <a:pt x="168673" y="84447"/>
                    <a:pt x="166334" y="83843"/>
                  </a:cubicBezTo>
                  <a:cubicBezTo>
                    <a:pt x="166324" y="83840"/>
                    <a:pt x="166313" y="83838"/>
                    <a:pt x="166303" y="83835"/>
                  </a:cubicBezTo>
                  <a:close/>
                  <a:moveTo>
                    <a:pt x="166303" y="105253"/>
                  </a:moveTo>
                  <a:lnTo>
                    <a:pt x="166303" y="105253"/>
                  </a:lnTo>
                  <a:cubicBezTo>
                    <a:pt x="161506" y="103884"/>
                    <a:pt x="156838" y="102103"/>
                    <a:pt x="152349" y="99929"/>
                  </a:cubicBezTo>
                  <a:cubicBezTo>
                    <a:pt x="139569" y="92256"/>
                    <a:pt x="123846" y="91316"/>
                    <a:pt x="110243" y="97412"/>
                  </a:cubicBezTo>
                  <a:cubicBezTo>
                    <a:pt x="108012" y="98331"/>
                    <a:pt x="106946" y="100884"/>
                    <a:pt x="107862" y="103117"/>
                  </a:cubicBezTo>
                  <a:cubicBezTo>
                    <a:pt x="108754" y="105322"/>
                    <a:pt x="111264" y="106388"/>
                    <a:pt x="113470" y="105498"/>
                  </a:cubicBezTo>
                  <a:lnTo>
                    <a:pt x="113524" y="105475"/>
                  </a:lnTo>
                  <a:cubicBezTo>
                    <a:pt x="124952" y="100511"/>
                    <a:pt x="138078" y="101407"/>
                    <a:pt x="148726" y="107876"/>
                  </a:cubicBezTo>
                  <a:cubicBezTo>
                    <a:pt x="153686" y="110271"/>
                    <a:pt x="158845" y="112229"/>
                    <a:pt x="164145" y="113730"/>
                  </a:cubicBezTo>
                  <a:cubicBezTo>
                    <a:pt x="166494" y="114302"/>
                    <a:pt x="168868" y="112880"/>
                    <a:pt x="169472" y="110538"/>
                  </a:cubicBezTo>
                  <a:cubicBezTo>
                    <a:pt x="170065" y="108216"/>
                    <a:pt x="168664" y="105852"/>
                    <a:pt x="166341" y="105259"/>
                  </a:cubicBezTo>
                  <a:lnTo>
                    <a:pt x="166303" y="105249"/>
                  </a:lnTo>
                  <a:close/>
                  <a:moveTo>
                    <a:pt x="166303" y="41074"/>
                  </a:moveTo>
                  <a:lnTo>
                    <a:pt x="166303" y="41074"/>
                  </a:lnTo>
                  <a:cubicBezTo>
                    <a:pt x="161506" y="39705"/>
                    <a:pt x="156838" y="37924"/>
                    <a:pt x="152349" y="35750"/>
                  </a:cubicBezTo>
                  <a:cubicBezTo>
                    <a:pt x="139562" y="28091"/>
                    <a:pt x="123839" y="27166"/>
                    <a:pt x="110243" y="33273"/>
                  </a:cubicBezTo>
                  <a:cubicBezTo>
                    <a:pt x="108025" y="34201"/>
                    <a:pt x="106978" y="36752"/>
                    <a:pt x="107906" y="38970"/>
                  </a:cubicBezTo>
                  <a:cubicBezTo>
                    <a:pt x="108821" y="41158"/>
                    <a:pt x="111318" y="42211"/>
                    <a:pt x="113524" y="41339"/>
                  </a:cubicBezTo>
                  <a:cubicBezTo>
                    <a:pt x="124948" y="36354"/>
                    <a:pt x="138085" y="37249"/>
                    <a:pt x="148726" y="43740"/>
                  </a:cubicBezTo>
                  <a:cubicBezTo>
                    <a:pt x="153688" y="46120"/>
                    <a:pt x="158847" y="48066"/>
                    <a:pt x="164145" y="49555"/>
                  </a:cubicBezTo>
                  <a:cubicBezTo>
                    <a:pt x="166479" y="50181"/>
                    <a:pt x="168879" y="48797"/>
                    <a:pt x="169506" y="46463"/>
                  </a:cubicBezTo>
                  <a:cubicBezTo>
                    <a:pt x="170132" y="44129"/>
                    <a:pt x="168748" y="41729"/>
                    <a:pt x="166415" y="41102"/>
                  </a:cubicBezTo>
                  <a:cubicBezTo>
                    <a:pt x="166397" y="41098"/>
                    <a:pt x="166380" y="41093"/>
                    <a:pt x="166362" y="41089"/>
                  </a:cubicBezTo>
                  <a:lnTo>
                    <a:pt x="166303" y="41073"/>
                  </a:lnTo>
                  <a:close/>
                  <a:moveTo>
                    <a:pt x="25435" y="70934"/>
                  </a:moveTo>
                  <a:lnTo>
                    <a:pt x="25435" y="70934"/>
                  </a:lnTo>
                  <a:cubicBezTo>
                    <a:pt x="30742" y="69464"/>
                    <a:pt x="35907" y="67520"/>
                    <a:pt x="40865" y="65124"/>
                  </a:cubicBezTo>
                  <a:cubicBezTo>
                    <a:pt x="51513" y="58655"/>
                    <a:pt x="64640" y="57759"/>
                    <a:pt x="76068" y="62723"/>
                  </a:cubicBezTo>
                  <a:cubicBezTo>
                    <a:pt x="78308" y="63601"/>
                    <a:pt x="80836" y="62497"/>
                    <a:pt x="81714" y="60257"/>
                  </a:cubicBezTo>
                  <a:cubicBezTo>
                    <a:pt x="82573" y="58065"/>
                    <a:pt x="81535" y="55587"/>
                    <a:pt x="79371" y="54661"/>
                  </a:cubicBezTo>
                  <a:cubicBezTo>
                    <a:pt x="65769" y="48554"/>
                    <a:pt x="50041" y="49478"/>
                    <a:pt x="37248" y="57137"/>
                  </a:cubicBezTo>
                  <a:cubicBezTo>
                    <a:pt x="32765" y="59342"/>
                    <a:pt x="28086" y="61125"/>
                    <a:pt x="23274" y="62465"/>
                  </a:cubicBezTo>
                  <a:cubicBezTo>
                    <a:pt x="20930" y="63052"/>
                    <a:pt x="19507" y="65428"/>
                    <a:pt x="20095" y="67771"/>
                  </a:cubicBezTo>
                  <a:cubicBezTo>
                    <a:pt x="20682" y="70114"/>
                    <a:pt x="23058" y="71537"/>
                    <a:pt x="25401" y="70950"/>
                  </a:cubicBezTo>
                  <a:cubicBezTo>
                    <a:pt x="25412" y="70947"/>
                    <a:pt x="25422" y="70944"/>
                    <a:pt x="25432" y="70942"/>
                  </a:cubicBezTo>
                  <a:close/>
                  <a:moveTo>
                    <a:pt x="25435" y="92313"/>
                  </a:moveTo>
                  <a:lnTo>
                    <a:pt x="25435" y="92313"/>
                  </a:lnTo>
                  <a:cubicBezTo>
                    <a:pt x="30742" y="90843"/>
                    <a:pt x="35906" y="88898"/>
                    <a:pt x="40865" y="86503"/>
                  </a:cubicBezTo>
                  <a:cubicBezTo>
                    <a:pt x="51513" y="80031"/>
                    <a:pt x="64640" y="79136"/>
                    <a:pt x="76068" y="84102"/>
                  </a:cubicBezTo>
                  <a:cubicBezTo>
                    <a:pt x="78311" y="84975"/>
                    <a:pt x="80838" y="83865"/>
                    <a:pt x="81711" y="81622"/>
                  </a:cubicBezTo>
                  <a:cubicBezTo>
                    <a:pt x="82563" y="79434"/>
                    <a:pt x="81528" y="76963"/>
                    <a:pt x="79371" y="76036"/>
                  </a:cubicBezTo>
                  <a:cubicBezTo>
                    <a:pt x="65767" y="69920"/>
                    <a:pt x="50029" y="70859"/>
                    <a:pt x="37248" y="78548"/>
                  </a:cubicBezTo>
                  <a:cubicBezTo>
                    <a:pt x="32750" y="80709"/>
                    <a:pt x="28075" y="82479"/>
                    <a:pt x="23274" y="83837"/>
                  </a:cubicBezTo>
                  <a:cubicBezTo>
                    <a:pt x="20930" y="84424"/>
                    <a:pt x="19507" y="86800"/>
                    <a:pt x="20095" y="89143"/>
                  </a:cubicBezTo>
                  <a:cubicBezTo>
                    <a:pt x="20682" y="91486"/>
                    <a:pt x="23058" y="92909"/>
                    <a:pt x="25401" y="92322"/>
                  </a:cubicBezTo>
                  <a:cubicBezTo>
                    <a:pt x="25412" y="92319"/>
                    <a:pt x="25422" y="92317"/>
                    <a:pt x="25432" y="92314"/>
                  </a:cubicBezTo>
                  <a:close/>
                  <a:moveTo>
                    <a:pt x="25473" y="113735"/>
                  </a:moveTo>
                  <a:lnTo>
                    <a:pt x="25473" y="113735"/>
                  </a:lnTo>
                  <a:cubicBezTo>
                    <a:pt x="30765" y="112235"/>
                    <a:pt x="35916" y="110276"/>
                    <a:pt x="40867" y="107881"/>
                  </a:cubicBezTo>
                  <a:cubicBezTo>
                    <a:pt x="51529" y="101410"/>
                    <a:pt x="64669" y="100515"/>
                    <a:pt x="76110" y="105481"/>
                  </a:cubicBezTo>
                  <a:cubicBezTo>
                    <a:pt x="78305" y="106394"/>
                    <a:pt x="80825" y="105356"/>
                    <a:pt x="81739" y="103160"/>
                  </a:cubicBezTo>
                  <a:cubicBezTo>
                    <a:pt x="81739" y="103160"/>
                    <a:pt x="81739" y="103160"/>
                    <a:pt x="81739" y="103160"/>
                  </a:cubicBezTo>
                  <a:lnTo>
                    <a:pt x="81756" y="103118"/>
                  </a:lnTo>
                  <a:cubicBezTo>
                    <a:pt x="82670" y="100886"/>
                    <a:pt x="81605" y="98334"/>
                    <a:pt x="79375" y="97415"/>
                  </a:cubicBezTo>
                  <a:cubicBezTo>
                    <a:pt x="65766" y="91317"/>
                    <a:pt x="50036" y="92257"/>
                    <a:pt x="37251" y="99931"/>
                  </a:cubicBezTo>
                  <a:cubicBezTo>
                    <a:pt x="32754" y="102104"/>
                    <a:pt x="28079" y="103886"/>
                    <a:pt x="23277" y="105256"/>
                  </a:cubicBezTo>
                  <a:cubicBezTo>
                    <a:pt x="20953" y="105854"/>
                    <a:pt x="19546" y="108215"/>
                    <a:pt x="20128" y="110544"/>
                  </a:cubicBezTo>
                  <a:cubicBezTo>
                    <a:pt x="20740" y="112889"/>
                    <a:pt x="23120" y="114309"/>
                    <a:pt x="25474" y="113736"/>
                  </a:cubicBezTo>
                  <a:close/>
                  <a:moveTo>
                    <a:pt x="25473" y="49556"/>
                  </a:moveTo>
                  <a:lnTo>
                    <a:pt x="25473" y="49556"/>
                  </a:lnTo>
                  <a:cubicBezTo>
                    <a:pt x="30764" y="48069"/>
                    <a:pt x="35914" y="46123"/>
                    <a:pt x="40867" y="43741"/>
                  </a:cubicBezTo>
                  <a:cubicBezTo>
                    <a:pt x="51523" y="37248"/>
                    <a:pt x="64673" y="36353"/>
                    <a:pt x="76110" y="41340"/>
                  </a:cubicBezTo>
                  <a:cubicBezTo>
                    <a:pt x="78346" y="42220"/>
                    <a:pt x="80872" y="41120"/>
                    <a:pt x="81751" y="38883"/>
                  </a:cubicBezTo>
                  <a:cubicBezTo>
                    <a:pt x="82619" y="36679"/>
                    <a:pt x="81562" y="34185"/>
                    <a:pt x="79375" y="33274"/>
                  </a:cubicBezTo>
                  <a:cubicBezTo>
                    <a:pt x="65773" y="27166"/>
                    <a:pt x="50043" y="28090"/>
                    <a:pt x="37251" y="35751"/>
                  </a:cubicBezTo>
                  <a:cubicBezTo>
                    <a:pt x="32755" y="37923"/>
                    <a:pt x="28080" y="39704"/>
                    <a:pt x="23278" y="41074"/>
                  </a:cubicBezTo>
                  <a:cubicBezTo>
                    <a:pt x="20915" y="41596"/>
                    <a:pt x="19421" y="43934"/>
                    <a:pt x="19943" y="46297"/>
                  </a:cubicBezTo>
                  <a:cubicBezTo>
                    <a:pt x="20464" y="48660"/>
                    <a:pt x="22802" y="50153"/>
                    <a:pt x="25165" y="49632"/>
                  </a:cubicBezTo>
                  <a:cubicBezTo>
                    <a:pt x="25269" y="49609"/>
                    <a:pt x="25372" y="49582"/>
                    <a:pt x="25474" y="49552"/>
                  </a:cubicBezTo>
                  <a:close/>
                  <a:moveTo>
                    <a:pt x="99177" y="26373"/>
                  </a:moveTo>
                  <a:lnTo>
                    <a:pt x="99177" y="26373"/>
                  </a:lnTo>
                  <a:lnTo>
                    <a:pt x="99177" y="125174"/>
                  </a:lnTo>
                  <a:cubicBezTo>
                    <a:pt x="115216" y="113650"/>
                    <a:pt x="136563" y="112738"/>
                    <a:pt x="153528" y="122851"/>
                  </a:cubicBezTo>
                  <a:cubicBezTo>
                    <a:pt x="160208" y="126363"/>
                    <a:pt x="167509" y="128541"/>
                    <a:pt x="175022" y="129262"/>
                  </a:cubicBezTo>
                  <a:lnTo>
                    <a:pt x="175022" y="27987"/>
                  </a:lnTo>
                  <a:cubicBezTo>
                    <a:pt x="165423" y="27394"/>
                    <a:pt x="156059" y="24773"/>
                    <a:pt x="147547" y="20298"/>
                  </a:cubicBezTo>
                  <a:cubicBezTo>
                    <a:pt x="135375" y="14785"/>
                    <a:pt x="124348" y="9796"/>
                    <a:pt x="99177" y="26374"/>
                  </a:cubicBezTo>
                  <a:close/>
                  <a:moveTo>
                    <a:pt x="90439" y="125174"/>
                  </a:moveTo>
                  <a:lnTo>
                    <a:pt x="90439" y="125174"/>
                  </a:lnTo>
                  <a:lnTo>
                    <a:pt x="90439" y="26373"/>
                  </a:lnTo>
                  <a:cubicBezTo>
                    <a:pt x="65250" y="9799"/>
                    <a:pt x="54244" y="14784"/>
                    <a:pt x="42070" y="20297"/>
                  </a:cubicBezTo>
                  <a:cubicBezTo>
                    <a:pt x="33550" y="24769"/>
                    <a:pt x="24181" y="27389"/>
                    <a:pt x="14576" y="27985"/>
                  </a:cubicBezTo>
                  <a:lnTo>
                    <a:pt x="14576" y="129264"/>
                  </a:lnTo>
                  <a:cubicBezTo>
                    <a:pt x="22093" y="128540"/>
                    <a:pt x="29398" y="126363"/>
                    <a:pt x="36086" y="122853"/>
                  </a:cubicBezTo>
                  <a:cubicBezTo>
                    <a:pt x="53051" y="112740"/>
                    <a:pt x="74398" y="113653"/>
                    <a:pt x="90439" y="125176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</p:grpSp>
      <p:grpSp>
        <p:nvGrpSpPr>
          <p:cNvPr id="108" name="Gruppieren 107"/>
          <p:cNvGrpSpPr/>
          <p:nvPr/>
        </p:nvGrpSpPr>
        <p:grpSpPr>
          <a:xfrm>
            <a:off x="5911962" y="3018960"/>
            <a:ext cx="648000" cy="648000"/>
            <a:chOff x="7785990" y="2489744"/>
            <a:chExt cx="408357" cy="408357"/>
          </a:xfrm>
        </p:grpSpPr>
        <p:sp>
          <p:nvSpPr>
            <p:cNvPr id="109" name="Freeform: Shape 374">
              <a:extLst>
                <a:ext uri="{FF2B5EF4-FFF2-40B4-BE49-F238E27FC236}">
                  <a16:creationId xmlns:a16="http://schemas.microsoft.com/office/drawing/2014/main" id="{4940B74F-2D91-4C50-85F6-16E4769F493C}"/>
                </a:ext>
              </a:extLst>
            </p:cNvPr>
            <p:cNvSpPr/>
            <p:nvPr/>
          </p:nvSpPr>
          <p:spPr>
            <a:xfrm>
              <a:off x="7785990" y="2489744"/>
              <a:ext cx="408357" cy="408357"/>
            </a:xfrm>
            <a:custGeom>
              <a:avLst/>
              <a:gdLst>
                <a:gd name="connsiteX0" fmla="*/ 0 w 306268"/>
                <a:gd name="connsiteY0" fmla="*/ 0 h 306268"/>
                <a:gd name="connsiteX1" fmla="*/ 306269 w 306268"/>
                <a:gd name="connsiteY1" fmla="*/ 0 h 306268"/>
                <a:gd name="connsiteX2" fmla="*/ 306269 w 306268"/>
                <a:gd name="connsiteY2" fmla="*/ 306269 h 306268"/>
                <a:gd name="connsiteX3" fmla="*/ 0 w 306268"/>
                <a:gd name="connsiteY3" fmla="*/ 306269 h 3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268" h="306268">
                  <a:moveTo>
                    <a:pt x="0" y="0"/>
                  </a:moveTo>
                  <a:lnTo>
                    <a:pt x="306269" y="0"/>
                  </a:lnTo>
                  <a:lnTo>
                    <a:pt x="306269" y="306269"/>
                  </a:lnTo>
                  <a:lnTo>
                    <a:pt x="0" y="306269"/>
                  </a:lnTo>
                  <a:close/>
                </a:path>
              </a:pathLst>
            </a:custGeom>
            <a:noFill/>
            <a:ln w="19050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110" name="Freeform: Shape 375">
              <a:extLst>
                <a:ext uri="{FF2B5EF4-FFF2-40B4-BE49-F238E27FC236}">
                  <a16:creationId xmlns:a16="http://schemas.microsoft.com/office/drawing/2014/main" id="{14D0997A-9257-4B14-8C8F-0FC6567A3872}"/>
                </a:ext>
              </a:extLst>
            </p:cNvPr>
            <p:cNvSpPr/>
            <p:nvPr/>
          </p:nvSpPr>
          <p:spPr>
            <a:xfrm>
              <a:off x="7863774" y="2598041"/>
              <a:ext cx="252787" cy="191757"/>
            </a:xfrm>
            <a:custGeom>
              <a:avLst/>
              <a:gdLst>
                <a:gd name="connsiteX0" fmla="*/ 8569 w 189590"/>
                <a:gd name="connsiteY0" fmla="*/ 13392 h 143818"/>
                <a:gd name="connsiteX1" fmla="*/ 36082 w 189590"/>
                <a:gd name="connsiteY1" fmla="*/ 7017 h 143818"/>
                <a:gd name="connsiteX2" fmla="*/ 94783 w 189590"/>
                <a:gd name="connsiteY2" fmla="*/ 11896 h 143818"/>
                <a:gd name="connsiteX3" fmla="*/ 153524 w 189590"/>
                <a:gd name="connsiteY3" fmla="*/ 7017 h 143818"/>
                <a:gd name="connsiteX4" fmla="*/ 181659 w 189590"/>
                <a:gd name="connsiteY4" fmla="*/ 13320 h 143818"/>
                <a:gd name="connsiteX5" fmla="*/ 189533 w 189590"/>
                <a:gd name="connsiteY5" fmla="*/ 19922 h 143818"/>
                <a:gd name="connsiteX6" fmla="*/ 189552 w 189590"/>
                <a:gd name="connsiteY6" fmla="*/ 20559 h 143818"/>
                <a:gd name="connsiteX7" fmla="*/ 189590 w 189590"/>
                <a:gd name="connsiteY7" fmla="*/ 20559 h 143818"/>
                <a:gd name="connsiteX8" fmla="*/ 189590 w 189590"/>
                <a:gd name="connsiteY8" fmla="*/ 136383 h 143818"/>
                <a:gd name="connsiteX9" fmla="*/ 182368 w 189590"/>
                <a:gd name="connsiteY9" fmla="*/ 143658 h 143818"/>
                <a:gd name="connsiteX10" fmla="*/ 182366 w 189590"/>
                <a:gd name="connsiteY10" fmla="*/ 143658 h 143818"/>
                <a:gd name="connsiteX11" fmla="*/ 182240 w 189590"/>
                <a:gd name="connsiteY11" fmla="*/ 143658 h 143818"/>
                <a:gd name="connsiteX12" fmla="*/ 147544 w 189590"/>
                <a:gd name="connsiteY12" fmla="*/ 136122 h 143818"/>
                <a:gd name="connsiteX13" fmla="*/ 98817 w 189590"/>
                <a:gd name="connsiteY13" fmla="*/ 142460 h 143818"/>
                <a:gd name="connsiteX14" fmla="*/ 90790 w 189590"/>
                <a:gd name="connsiteY14" fmla="*/ 142460 h 143818"/>
                <a:gd name="connsiteX15" fmla="*/ 42066 w 189590"/>
                <a:gd name="connsiteY15" fmla="*/ 136122 h 143818"/>
                <a:gd name="connsiteX16" fmla="*/ 6676 w 189590"/>
                <a:gd name="connsiteY16" fmla="*/ 143624 h 143818"/>
                <a:gd name="connsiteX17" fmla="*/ 34 w 189590"/>
                <a:gd name="connsiteY17" fmla="*/ 136385 h 143818"/>
                <a:gd name="connsiteX18" fmla="*/ 0 w 189590"/>
                <a:gd name="connsiteY18" fmla="*/ 136385 h 143818"/>
                <a:gd name="connsiteX19" fmla="*/ 0 w 189590"/>
                <a:gd name="connsiteY19" fmla="*/ 20561 h 143818"/>
                <a:gd name="connsiteX20" fmla="*/ 7294 w 189590"/>
                <a:gd name="connsiteY20" fmla="*/ 13245 h 143818"/>
                <a:gd name="connsiteX21" fmla="*/ 8570 w 189590"/>
                <a:gd name="connsiteY21" fmla="*/ 13395 h 143818"/>
                <a:gd name="connsiteX22" fmla="*/ 166303 w 189590"/>
                <a:gd name="connsiteY22" fmla="*/ 62457 h 143818"/>
                <a:gd name="connsiteX23" fmla="*/ 166303 w 189590"/>
                <a:gd name="connsiteY23" fmla="*/ 62457 h 143818"/>
                <a:gd name="connsiteX24" fmla="*/ 152349 w 189590"/>
                <a:gd name="connsiteY24" fmla="*/ 57130 h 143818"/>
                <a:gd name="connsiteX25" fmla="*/ 110243 w 189590"/>
                <a:gd name="connsiteY25" fmla="*/ 54653 h 143818"/>
                <a:gd name="connsiteX26" fmla="*/ 107821 w 189590"/>
                <a:gd name="connsiteY26" fmla="*/ 60311 h 143818"/>
                <a:gd name="connsiteX27" fmla="*/ 113479 w 189590"/>
                <a:gd name="connsiteY27" fmla="*/ 62734 h 143818"/>
                <a:gd name="connsiteX28" fmla="*/ 113524 w 189590"/>
                <a:gd name="connsiteY28" fmla="*/ 62715 h 143818"/>
                <a:gd name="connsiteX29" fmla="*/ 148726 w 189590"/>
                <a:gd name="connsiteY29" fmla="*/ 65117 h 143818"/>
                <a:gd name="connsiteX30" fmla="*/ 164144 w 189590"/>
                <a:gd name="connsiteY30" fmla="*/ 70927 h 143818"/>
                <a:gd name="connsiteX31" fmla="*/ 169474 w 189590"/>
                <a:gd name="connsiteY31" fmla="*/ 67787 h 143818"/>
                <a:gd name="connsiteX32" fmla="*/ 166333 w 189590"/>
                <a:gd name="connsiteY32" fmla="*/ 62458 h 143818"/>
                <a:gd name="connsiteX33" fmla="*/ 166303 w 189590"/>
                <a:gd name="connsiteY33" fmla="*/ 62450 h 143818"/>
                <a:gd name="connsiteX34" fmla="*/ 166303 w 189590"/>
                <a:gd name="connsiteY34" fmla="*/ 83836 h 143818"/>
                <a:gd name="connsiteX35" fmla="*/ 166303 w 189590"/>
                <a:gd name="connsiteY35" fmla="*/ 83836 h 143818"/>
                <a:gd name="connsiteX36" fmla="*/ 152349 w 189590"/>
                <a:gd name="connsiteY36" fmla="*/ 78548 h 143818"/>
                <a:gd name="connsiteX37" fmla="*/ 110243 w 189590"/>
                <a:gd name="connsiteY37" fmla="*/ 76035 h 143818"/>
                <a:gd name="connsiteX38" fmla="*/ 107906 w 189590"/>
                <a:gd name="connsiteY38" fmla="*/ 81731 h 143818"/>
                <a:gd name="connsiteX39" fmla="*/ 113524 w 189590"/>
                <a:gd name="connsiteY39" fmla="*/ 84101 h 143818"/>
                <a:gd name="connsiteX40" fmla="*/ 148726 w 189590"/>
                <a:gd name="connsiteY40" fmla="*/ 86502 h 143818"/>
                <a:gd name="connsiteX41" fmla="*/ 164145 w 189590"/>
                <a:gd name="connsiteY41" fmla="*/ 92312 h 143818"/>
                <a:gd name="connsiteX42" fmla="*/ 169474 w 189590"/>
                <a:gd name="connsiteY42" fmla="*/ 89172 h 143818"/>
                <a:gd name="connsiteX43" fmla="*/ 166334 w 189590"/>
                <a:gd name="connsiteY43" fmla="*/ 83843 h 143818"/>
                <a:gd name="connsiteX44" fmla="*/ 166303 w 189590"/>
                <a:gd name="connsiteY44" fmla="*/ 83835 h 143818"/>
                <a:gd name="connsiteX45" fmla="*/ 166303 w 189590"/>
                <a:gd name="connsiteY45" fmla="*/ 105253 h 143818"/>
                <a:gd name="connsiteX46" fmla="*/ 166303 w 189590"/>
                <a:gd name="connsiteY46" fmla="*/ 105253 h 143818"/>
                <a:gd name="connsiteX47" fmla="*/ 152349 w 189590"/>
                <a:gd name="connsiteY47" fmla="*/ 99929 h 143818"/>
                <a:gd name="connsiteX48" fmla="*/ 110243 w 189590"/>
                <a:gd name="connsiteY48" fmla="*/ 97412 h 143818"/>
                <a:gd name="connsiteX49" fmla="*/ 107862 w 189590"/>
                <a:gd name="connsiteY49" fmla="*/ 103117 h 143818"/>
                <a:gd name="connsiteX50" fmla="*/ 113470 w 189590"/>
                <a:gd name="connsiteY50" fmla="*/ 105498 h 143818"/>
                <a:gd name="connsiteX51" fmla="*/ 113524 w 189590"/>
                <a:gd name="connsiteY51" fmla="*/ 105475 h 143818"/>
                <a:gd name="connsiteX52" fmla="*/ 148726 w 189590"/>
                <a:gd name="connsiteY52" fmla="*/ 107876 h 143818"/>
                <a:gd name="connsiteX53" fmla="*/ 164145 w 189590"/>
                <a:gd name="connsiteY53" fmla="*/ 113730 h 143818"/>
                <a:gd name="connsiteX54" fmla="*/ 169472 w 189590"/>
                <a:gd name="connsiteY54" fmla="*/ 110538 h 143818"/>
                <a:gd name="connsiteX55" fmla="*/ 166341 w 189590"/>
                <a:gd name="connsiteY55" fmla="*/ 105259 h 143818"/>
                <a:gd name="connsiteX56" fmla="*/ 166303 w 189590"/>
                <a:gd name="connsiteY56" fmla="*/ 105249 h 143818"/>
                <a:gd name="connsiteX57" fmla="*/ 166303 w 189590"/>
                <a:gd name="connsiteY57" fmla="*/ 41074 h 143818"/>
                <a:gd name="connsiteX58" fmla="*/ 166303 w 189590"/>
                <a:gd name="connsiteY58" fmla="*/ 41074 h 143818"/>
                <a:gd name="connsiteX59" fmla="*/ 152349 w 189590"/>
                <a:gd name="connsiteY59" fmla="*/ 35750 h 143818"/>
                <a:gd name="connsiteX60" fmla="*/ 110243 w 189590"/>
                <a:gd name="connsiteY60" fmla="*/ 33273 h 143818"/>
                <a:gd name="connsiteX61" fmla="*/ 107906 w 189590"/>
                <a:gd name="connsiteY61" fmla="*/ 38970 h 143818"/>
                <a:gd name="connsiteX62" fmla="*/ 113524 w 189590"/>
                <a:gd name="connsiteY62" fmla="*/ 41339 h 143818"/>
                <a:gd name="connsiteX63" fmla="*/ 148726 w 189590"/>
                <a:gd name="connsiteY63" fmla="*/ 43740 h 143818"/>
                <a:gd name="connsiteX64" fmla="*/ 164145 w 189590"/>
                <a:gd name="connsiteY64" fmla="*/ 49555 h 143818"/>
                <a:gd name="connsiteX65" fmla="*/ 169506 w 189590"/>
                <a:gd name="connsiteY65" fmla="*/ 46463 h 143818"/>
                <a:gd name="connsiteX66" fmla="*/ 166415 w 189590"/>
                <a:gd name="connsiteY66" fmla="*/ 41102 h 143818"/>
                <a:gd name="connsiteX67" fmla="*/ 166362 w 189590"/>
                <a:gd name="connsiteY67" fmla="*/ 41089 h 143818"/>
                <a:gd name="connsiteX68" fmla="*/ 166303 w 189590"/>
                <a:gd name="connsiteY68" fmla="*/ 41073 h 143818"/>
                <a:gd name="connsiteX69" fmla="*/ 25435 w 189590"/>
                <a:gd name="connsiteY69" fmla="*/ 70934 h 143818"/>
                <a:gd name="connsiteX70" fmla="*/ 25435 w 189590"/>
                <a:gd name="connsiteY70" fmla="*/ 70934 h 143818"/>
                <a:gd name="connsiteX71" fmla="*/ 40865 w 189590"/>
                <a:gd name="connsiteY71" fmla="*/ 65124 h 143818"/>
                <a:gd name="connsiteX72" fmla="*/ 76068 w 189590"/>
                <a:gd name="connsiteY72" fmla="*/ 62723 h 143818"/>
                <a:gd name="connsiteX73" fmla="*/ 81714 w 189590"/>
                <a:gd name="connsiteY73" fmla="*/ 60257 h 143818"/>
                <a:gd name="connsiteX74" fmla="*/ 79371 w 189590"/>
                <a:gd name="connsiteY74" fmla="*/ 54661 h 143818"/>
                <a:gd name="connsiteX75" fmla="*/ 37248 w 189590"/>
                <a:gd name="connsiteY75" fmla="*/ 57137 h 143818"/>
                <a:gd name="connsiteX76" fmla="*/ 23274 w 189590"/>
                <a:gd name="connsiteY76" fmla="*/ 62465 h 143818"/>
                <a:gd name="connsiteX77" fmla="*/ 20095 w 189590"/>
                <a:gd name="connsiteY77" fmla="*/ 67771 h 143818"/>
                <a:gd name="connsiteX78" fmla="*/ 25401 w 189590"/>
                <a:gd name="connsiteY78" fmla="*/ 70950 h 143818"/>
                <a:gd name="connsiteX79" fmla="*/ 25432 w 189590"/>
                <a:gd name="connsiteY79" fmla="*/ 70942 h 143818"/>
                <a:gd name="connsiteX80" fmla="*/ 25435 w 189590"/>
                <a:gd name="connsiteY80" fmla="*/ 92313 h 143818"/>
                <a:gd name="connsiteX81" fmla="*/ 25435 w 189590"/>
                <a:gd name="connsiteY81" fmla="*/ 92313 h 143818"/>
                <a:gd name="connsiteX82" fmla="*/ 40865 w 189590"/>
                <a:gd name="connsiteY82" fmla="*/ 86503 h 143818"/>
                <a:gd name="connsiteX83" fmla="*/ 76068 w 189590"/>
                <a:gd name="connsiteY83" fmla="*/ 84102 h 143818"/>
                <a:gd name="connsiteX84" fmla="*/ 81711 w 189590"/>
                <a:gd name="connsiteY84" fmla="*/ 81622 h 143818"/>
                <a:gd name="connsiteX85" fmla="*/ 79371 w 189590"/>
                <a:gd name="connsiteY85" fmla="*/ 76036 h 143818"/>
                <a:gd name="connsiteX86" fmla="*/ 37248 w 189590"/>
                <a:gd name="connsiteY86" fmla="*/ 78548 h 143818"/>
                <a:gd name="connsiteX87" fmla="*/ 23274 w 189590"/>
                <a:gd name="connsiteY87" fmla="*/ 83837 h 143818"/>
                <a:gd name="connsiteX88" fmla="*/ 20095 w 189590"/>
                <a:gd name="connsiteY88" fmla="*/ 89143 h 143818"/>
                <a:gd name="connsiteX89" fmla="*/ 25401 w 189590"/>
                <a:gd name="connsiteY89" fmla="*/ 92322 h 143818"/>
                <a:gd name="connsiteX90" fmla="*/ 25432 w 189590"/>
                <a:gd name="connsiteY90" fmla="*/ 92314 h 143818"/>
                <a:gd name="connsiteX91" fmla="*/ 25473 w 189590"/>
                <a:gd name="connsiteY91" fmla="*/ 113735 h 143818"/>
                <a:gd name="connsiteX92" fmla="*/ 25473 w 189590"/>
                <a:gd name="connsiteY92" fmla="*/ 113735 h 143818"/>
                <a:gd name="connsiteX93" fmla="*/ 40867 w 189590"/>
                <a:gd name="connsiteY93" fmla="*/ 107881 h 143818"/>
                <a:gd name="connsiteX94" fmla="*/ 76110 w 189590"/>
                <a:gd name="connsiteY94" fmla="*/ 105481 h 143818"/>
                <a:gd name="connsiteX95" fmla="*/ 81739 w 189590"/>
                <a:gd name="connsiteY95" fmla="*/ 103160 h 143818"/>
                <a:gd name="connsiteX96" fmla="*/ 81739 w 189590"/>
                <a:gd name="connsiteY96" fmla="*/ 103160 h 143818"/>
                <a:gd name="connsiteX97" fmla="*/ 81756 w 189590"/>
                <a:gd name="connsiteY97" fmla="*/ 103118 h 143818"/>
                <a:gd name="connsiteX98" fmla="*/ 79375 w 189590"/>
                <a:gd name="connsiteY98" fmla="*/ 97415 h 143818"/>
                <a:gd name="connsiteX99" fmla="*/ 37251 w 189590"/>
                <a:gd name="connsiteY99" fmla="*/ 99931 h 143818"/>
                <a:gd name="connsiteX100" fmla="*/ 23277 w 189590"/>
                <a:gd name="connsiteY100" fmla="*/ 105256 h 143818"/>
                <a:gd name="connsiteX101" fmla="*/ 20128 w 189590"/>
                <a:gd name="connsiteY101" fmla="*/ 110544 h 143818"/>
                <a:gd name="connsiteX102" fmla="*/ 25474 w 189590"/>
                <a:gd name="connsiteY102" fmla="*/ 113736 h 143818"/>
                <a:gd name="connsiteX103" fmla="*/ 25473 w 189590"/>
                <a:gd name="connsiteY103" fmla="*/ 49556 h 143818"/>
                <a:gd name="connsiteX104" fmla="*/ 25473 w 189590"/>
                <a:gd name="connsiteY104" fmla="*/ 49556 h 143818"/>
                <a:gd name="connsiteX105" fmla="*/ 40867 w 189590"/>
                <a:gd name="connsiteY105" fmla="*/ 43741 h 143818"/>
                <a:gd name="connsiteX106" fmla="*/ 76110 w 189590"/>
                <a:gd name="connsiteY106" fmla="*/ 41340 h 143818"/>
                <a:gd name="connsiteX107" fmla="*/ 81751 w 189590"/>
                <a:gd name="connsiteY107" fmla="*/ 38883 h 143818"/>
                <a:gd name="connsiteX108" fmla="*/ 79375 w 189590"/>
                <a:gd name="connsiteY108" fmla="*/ 33274 h 143818"/>
                <a:gd name="connsiteX109" fmla="*/ 37251 w 189590"/>
                <a:gd name="connsiteY109" fmla="*/ 35751 h 143818"/>
                <a:gd name="connsiteX110" fmla="*/ 23278 w 189590"/>
                <a:gd name="connsiteY110" fmla="*/ 41074 h 143818"/>
                <a:gd name="connsiteX111" fmla="*/ 19943 w 189590"/>
                <a:gd name="connsiteY111" fmla="*/ 46297 h 143818"/>
                <a:gd name="connsiteX112" fmla="*/ 25165 w 189590"/>
                <a:gd name="connsiteY112" fmla="*/ 49632 h 143818"/>
                <a:gd name="connsiteX113" fmla="*/ 25474 w 189590"/>
                <a:gd name="connsiteY113" fmla="*/ 49552 h 143818"/>
                <a:gd name="connsiteX114" fmla="*/ 99177 w 189590"/>
                <a:gd name="connsiteY114" fmla="*/ 26373 h 143818"/>
                <a:gd name="connsiteX115" fmla="*/ 99177 w 189590"/>
                <a:gd name="connsiteY115" fmla="*/ 26373 h 143818"/>
                <a:gd name="connsiteX116" fmla="*/ 99177 w 189590"/>
                <a:gd name="connsiteY116" fmla="*/ 125174 h 143818"/>
                <a:gd name="connsiteX117" fmla="*/ 153528 w 189590"/>
                <a:gd name="connsiteY117" fmla="*/ 122851 h 143818"/>
                <a:gd name="connsiteX118" fmla="*/ 175022 w 189590"/>
                <a:gd name="connsiteY118" fmla="*/ 129262 h 143818"/>
                <a:gd name="connsiteX119" fmla="*/ 175022 w 189590"/>
                <a:gd name="connsiteY119" fmla="*/ 27987 h 143818"/>
                <a:gd name="connsiteX120" fmla="*/ 147547 w 189590"/>
                <a:gd name="connsiteY120" fmla="*/ 20298 h 143818"/>
                <a:gd name="connsiteX121" fmla="*/ 99177 w 189590"/>
                <a:gd name="connsiteY121" fmla="*/ 26374 h 143818"/>
                <a:gd name="connsiteX122" fmla="*/ 90439 w 189590"/>
                <a:gd name="connsiteY122" fmla="*/ 125174 h 143818"/>
                <a:gd name="connsiteX123" fmla="*/ 90439 w 189590"/>
                <a:gd name="connsiteY123" fmla="*/ 125174 h 143818"/>
                <a:gd name="connsiteX124" fmla="*/ 90439 w 189590"/>
                <a:gd name="connsiteY124" fmla="*/ 26373 h 143818"/>
                <a:gd name="connsiteX125" fmla="*/ 42070 w 189590"/>
                <a:gd name="connsiteY125" fmla="*/ 20297 h 143818"/>
                <a:gd name="connsiteX126" fmla="*/ 14576 w 189590"/>
                <a:gd name="connsiteY126" fmla="*/ 27985 h 143818"/>
                <a:gd name="connsiteX127" fmla="*/ 14576 w 189590"/>
                <a:gd name="connsiteY127" fmla="*/ 129264 h 143818"/>
                <a:gd name="connsiteX128" fmla="*/ 36086 w 189590"/>
                <a:gd name="connsiteY128" fmla="*/ 122853 h 143818"/>
                <a:gd name="connsiteX129" fmla="*/ 90439 w 189590"/>
                <a:gd name="connsiteY129" fmla="*/ 125176 h 14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189590" h="143818">
                  <a:moveTo>
                    <a:pt x="8569" y="13392"/>
                  </a:moveTo>
                  <a:cubicBezTo>
                    <a:pt x="18150" y="13819"/>
                    <a:pt x="27665" y="11615"/>
                    <a:pt x="36082" y="7017"/>
                  </a:cubicBezTo>
                  <a:cubicBezTo>
                    <a:pt x="54721" y="-3891"/>
                    <a:pt x="78200" y="-1940"/>
                    <a:pt x="94783" y="11896"/>
                  </a:cubicBezTo>
                  <a:cubicBezTo>
                    <a:pt x="111381" y="-1941"/>
                    <a:pt x="134871" y="-3892"/>
                    <a:pt x="153524" y="7017"/>
                  </a:cubicBezTo>
                  <a:cubicBezTo>
                    <a:pt x="162119" y="11731"/>
                    <a:pt x="171874" y="13916"/>
                    <a:pt x="181659" y="13320"/>
                  </a:cubicBezTo>
                  <a:cubicBezTo>
                    <a:pt x="185654" y="12977"/>
                    <a:pt x="189174" y="15929"/>
                    <a:pt x="189533" y="19922"/>
                  </a:cubicBezTo>
                  <a:lnTo>
                    <a:pt x="189552" y="20559"/>
                  </a:lnTo>
                  <a:lnTo>
                    <a:pt x="189590" y="20559"/>
                  </a:lnTo>
                  <a:lnTo>
                    <a:pt x="189590" y="136383"/>
                  </a:lnTo>
                  <a:cubicBezTo>
                    <a:pt x="189605" y="140387"/>
                    <a:pt x="186371" y="143643"/>
                    <a:pt x="182368" y="143658"/>
                  </a:cubicBezTo>
                  <a:cubicBezTo>
                    <a:pt x="182367" y="143658"/>
                    <a:pt x="182366" y="143658"/>
                    <a:pt x="182366" y="143658"/>
                  </a:cubicBezTo>
                  <a:lnTo>
                    <a:pt x="182240" y="143658"/>
                  </a:lnTo>
                  <a:cubicBezTo>
                    <a:pt x="170194" y="144496"/>
                    <a:pt x="158158" y="141882"/>
                    <a:pt x="147544" y="136122"/>
                  </a:cubicBezTo>
                  <a:cubicBezTo>
                    <a:pt x="135314" y="130607"/>
                    <a:pt x="124249" y="125578"/>
                    <a:pt x="98817" y="142460"/>
                  </a:cubicBezTo>
                  <a:cubicBezTo>
                    <a:pt x="96384" y="144073"/>
                    <a:pt x="93223" y="144073"/>
                    <a:pt x="90790" y="142460"/>
                  </a:cubicBezTo>
                  <a:cubicBezTo>
                    <a:pt x="65358" y="125578"/>
                    <a:pt x="54293" y="130607"/>
                    <a:pt x="42066" y="136122"/>
                  </a:cubicBezTo>
                  <a:cubicBezTo>
                    <a:pt x="31238" y="141978"/>
                    <a:pt x="18949" y="144583"/>
                    <a:pt x="6676" y="143624"/>
                  </a:cubicBezTo>
                  <a:cubicBezTo>
                    <a:pt x="2920" y="143300"/>
                    <a:pt x="35" y="140156"/>
                    <a:pt x="34" y="136385"/>
                  </a:cubicBezTo>
                  <a:lnTo>
                    <a:pt x="0" y="136385"/>
                  </a:lnTo>
                  <a:lnTo>
                    <a:pt x="0" y="20561"/>
                  </a:lnTo>
                  <a:cubicBezTo>
                    <a:pt x="10" y="16533"/>
                    <a:pt x="3266" y="13267"/>
                    <a:pt x="7294" y="13245"/>
                  </a:cubicBezTo>
                  <a:cubicBezTo>
                    <a:pt x="7723" y="13259"/>
                    <a:pt x="8150" y="13309"/>
                    <a:pt x="8570" y="13395"/>
                  </a:cubicBezTo>
                  <a:close/>
                  <a:moveTo>
                    <a:pt x="166303" y="62457"/>
                  </a:moveTo>
                  <a:lnTo>
                    <a:pt x="166303" y="62457"/>
                  </a:lnTo>
                  <a:cubicBezTo>
                    <a:pt x="161496" y="61120"/>
                    <a:pt x="156824" y="59336"/>
                    <a:pt x="152349" y="57130"/>
                  </a:cubicBezTo>
                  <a:cubicBezTo>
                    <a:pt x="139562" y="49472"/>
                    <a:pt x="123840" y="48547"/>
                    <a:pt x="110243" y="54653"/>
                  </a:cubicBezTo>
                  <a:cubicBezTo>
                    <a:pt x="108012" y="55547"/>
                    <a:pt x="106927" y="58080"/>
                    <a:pt x="107821" y="60311"/>
                  </a:cubicBezTo>
                  <a:cubicBezTo>
                    <a:pt x="108714" y="62542"/>
                    <a:pt x="111247" y="63627"/>
                    <a:pt x="113479" y="62734"/>
                  </a:cubicBezTo>
                  <a:cubicBezTo>
                    <a:pt x="113494" y="62728"/>
                    <a:pt x="113509" y="62722"/>
                    <a:pt x="113524" y="62715"/>
                  </a:cubicBezTo>
                  <a:cubicBezTo>
                    <a:pt x="124951" y="57752"/>
                    <a:pt x="138078" y="58647"/>
                    <a:pt x="148726" y="65117"/>
                  </a:cubicBezTo>
                  <a:cubicBezTo>
                    <a:pt x="153681" y="67512"/>
                    <a:pt x="158841" y="69457"/>
                    <a:pt x="164144" y="70927"/>
                  </a:cubicBezTo>
                  <a:cubicBezTo>
                    <a:pt x="166483" y="71531"/>
                    <a:pt x="168869" y="70126"/>
                    <a:pt x="169474" y="67787"/>
                  </a:cubicBezTo>
                  <a:cubicBezTo>
                    <a:pt x="170078" y="65448"/>
                    <a:pt x="168672" y="63062"/>
                    <a:pt x="166333" y="62458"/>
                  </a:cubicBezTo>
                  <a:cubicBezTo>
                    <a:pt x="166323" y="62455"/>
                    <a:pt x="166313" y="62452"/>
                    <a:pt x="166303" y="62450"/>
                  </a:cubicBezTo>
                  <a:close/>
                  <a:moveTo>
                    <a:pt x="166303" y="83836"/>
                  </a:moveTo>
                  <a:lnTo>
                    <a:pt x="166303" y="83836"/>
                  </a:lnTo>
                  <a:cubicBezTo>
                    <a:pt x="161508" y="82478"/>
                    <a:pt x="156839" y="80709"/>
                    <a:pt x="152349" y="78548"/>
                  </a:cubicBezTo>
                  <a:cubicBezTo>
                    <a:pt x="139574" y="70858"/>
                    <a:pt x="123842" y="69919"/>
                    <a:pt x="110243" y="76035"/>
                  </a:cubicBezTo>
                  <a:cubicBezTo>
                    <a:pt x="108025" y="76963"/>
                    <a:pt x="106978" y="79513"/>
                    <a:pt x="107906" y="81731"/>
                  </a:cubicBezTo>
                  <a:cubicBezTo>
                    <a:pt x="108821" y="83919"/>
                    <a:pt x="111318" y="84972"/>
                    <a:pt x="113524" y="84101"/>
                  </a:cubicBezTo>
                  <a:cubicBezTo>
                    <a:pt x="124951" y="79134"/>
                    <a:pt x="138079" y="80030"/>
                    <a:pt x="148726" y="86502"/>
                  </a:cubicBezTo>
                  <a:cubicBezTo>
                    <a:pt x="153681" y="88897"/>
                    <a:pt x="158841" y="90841"/>
                    <a:pt x="164145" y="92312"/>
                  </a:cubicBezTo>
                  <a:cubicBezTo>
                    <a:pt x="166483" y="92917"/>
                    <a:pt x="168869" y="91511"/>
                    <a:pt x="169474" y="89172"/>
                  </a:cubicBezTo>
                  <a:cubicBezTo>
                    <a:pt x="170079" y="86833"/>
                    <a:pt x="168673" y="84447"/>
                    <a:pt x="166334" y="83843"/>
                  </a:cubicBezTo>
                  <a:cubicBezTo>
                    <a:pt x="166324" y="83840"/>
                    <a:pt x="166313" y="83838"/>
                    <a:pt x="166303" y="83835"/>
                  </a:cubicBezTo>
                  <a:close/>
                  <a:moveTo>
                    <a:pt x="166303" y="105253"/>
                  </a:moveTo>
                  <a:lnTo>
                    <a:pt x="166303" y="105253"/>
                  </a:lnTo>
                  <a:cubicBezTo>
                    <a:pt x="161506" y="103884"/>
                    <a:pt x="156838" y="102103"/>
                    <a:pt x="152349" y="99929"/>
                  </a:cubicBezTo>
                  <a:cubicBezTo>
                    <a:pt x="139569" y="92256"/>
                    <a:pt x="123846" y="91316"/>
                    <a:pt x="110243" y="97412"/>
                  </a:cubicBezTo>
                  <a:cubicBezTo>
                    <a:pt x="108012" y="98331"/>
                    <a:pt x="106946" y="100884"/>
                    <a:pt x="107862" y="103117"/>
                  </a:cubicBezTo>
                  <a:cubicBezTo>
                    <a:pt x="108754" y="105322"/>
                    <a:pt x="111264" y="106388"/>
                    <a:pt x="113470" y="105498"/>
                  </a:cubicBezTo>
                  <a:lnTo>
                    <a:pt x="113524" y="105475"/>
                  </a:lnTo>
                  <a:cubicBezTo>
                    <a:pt x="124952" y="100511"/>
                    <a:pt x="138078" y="101407"/>
                    <a:pt x="148726" y="107876"/>
                  </a:cubicBezTo>
                  <a:cubicBezTo>
                    <a:pt x="153686" y="110271"/>
                    <a:pt x="158845" y="112229"/>
                    <a:pt x="164145" y="113730"/>
                  </a:cubicBezTo>
                  <a:cubicBezTo>
                    <a:pt x="166494" y="114302"/>
                    <a:pt x="168868" y="112880"/>
                    <a:pt x="169472" y="110538"/>
                  </a:cubicBezTo>
                  <a:cubicBezTo>
                    <a:pt x="170065" y="108216"/>
                    <a:pt x="168664" y="105852"/>
                    <a:pt x="166341" y="105259"/>
                  </a:cubicBezTo>
                  <a:lnTo>
                    <a:pt x="166303" y="105249"/>
                  </a:lnTo>
                  <a:close/>
                  <a:moveTo>
                    <a:pt x="166303" y="41074"/>
                  </a:moveTo>
                  <a:lnTo>
                    <a:pt x="166303" y="41074"/>
                  </a:lnTo>
                  <a:cubicBezTo>
                    <a:pt x="161506" y="39705"/>
                    <a:pt x="156838" y="37924"/>
                    <a:pt x="152349" y="35750"/>
                  </a:cubicBezTo>
                  <a:cubicBezTo>
                    <a:pt x="139562" y="28091"/>
                    <a:pt x="123839" y="27166"/>
                    <a:pt x="110243" y="33273"/>
                  </a:cubicBezTo>
                  <a:cubicBezTo>
                    <a:pt x="108025" y="34201"/>
                    <a:pt x="106978" y="36752"/>
                    <a:pt x="107906" y="38970"/>
                  </a:cubicBezTo>
                  <a:cubicBezTo>
                    <a:pt x="108821" y="41158"/>
                    <a:pt x="111318" y="42211"/>
                    <a:pt x="113524" y="41339"/>
                  </a:cubicBezTo>
                  <a:cubicBezTo>
                    <a:pt x="124948" y="36354"/>
                    <a:pt x="138085" y="37249"/>
                    <a:pt x="148726" y="43740"/>
                  </a:cubicBezTo>
                  <a:cubicBezTo>
                    <a:pt x="153688" y="46120"/>
                    <a:pt x="158847" y="48066"/>
                    <a:pt x="164145" y="49555"/>
                  </a:cubicBezTo>
                  <a:cubicBezTo>
                    <a:pt x="166479" y="50181"/>
                    <a:pt x="168879" y="48797"/>
                    <a:pt x="169506" y="46463"/>
                  </a:cubicBezTo>
                  <a:cubicBezTo>
                    <a:pt x="170132" y="44129"/>
                    <a:pt x="168748" y="41729"/>
                    <a:pt x="166415" y="41102"/>
                  </a:cubicBezTo>
                  <a:cubicBezTo>
                    <a:pt x="166397" y="41098"/>
                    <a:pt x="166380" y="41093"/>
                    <a:pt x="166362" y="41089"/>
                  </a:cubicBezTo>
                  <a:lnTo>
                    <a:pt x="166303" y="41073"/>
                  </a:lnTo>
                  <a:close/>
                  <a:moveTo>
                    <a:pt x="25435" y="70934"/>
                  </a:moveTo>
                  <a:lnTo>
                    <a:pt x="25435" y="70934"/>
                  </a:lnTo>
                  <a:cubicBezTo>
                    <a:pt x="30742" y="69464"/>
                    <a:pt x="35907" y="67520"/>
                    <a:pt x="40865" y="65124"/>
                  </a:cubicBezTo>
                  <a:cubicBezTo>
                    <a:pt x="51513" y="58655"/>
                    <a:pt x="64640" y="57759"/>
                    <a:pt x="76068" y="62723"/>
                  </a:cubicBezTo>
                  <a:cubicBezTo>
                    <a:pt x="78308" y="63601"/>
                    <a:pt x="80836" y="62497"/>
                    <a:pt x="81714" y="60257"/>
                  </a:cubicBezTo>
                  <a:cubicBezTo>
                    <a:pt x="82573" y="58065"/>
                    <a:pt x="81535" y="55587"/>
                    <a:pt x="79371" y="54661"/>
                  </a:cubicBezTo>
                  <a:cubicBezTo>
                    <a:pt x="65769" y="48554"/>
                    <a:pt x="50041" y="49478"/>
                    <a:pt x="37248" y="57137"/>
                  </a:cubicBezTo>
                  <a:cubicBezTo>
                    <a:pt x="32765" y="59342"/>
                    <a:pt x="28086" y="61125"/>
                    <a:pt x="23274" y="62465"/>
                  </a:cubicBezTo>
                  <a:cubicBezTo>
                    <a:pt x="20930" y="63052"/>
                    <a:pt x="19507" y="65428"/>
                    <a:pt x="20095" y="67771"/>
                  </a:cubicBezTo>
                  <a:cubicBezTo>
                    <a:pt x="20682" y="70114"/>
                    <a:pt x="23058" y="71537"/>
                    <a:pt x="25401" y="70950"/>
                  </a:cubicBezTo>
                  <a:cubicBezTo>
                    <a:pt x="25412" y="70947"/>
                    <a:pt x="25422" y="70944"/>
                    <a:pt x="25432" y="70942"/>
                  </a:cubicBezTo>
                  <a:close/>
                  <a:moveTo>
                    <a:pt x="25435" y="92313"/>
                  </a:moveTo>
                  <a:lnTo>
                    <a:pt x="25435" y="92313"/>
                  </a:lnTo>
                  <a:cubicBezTo>
                    <a:pt x="30742" y="90843"/>
                    <a:pt x="35906" y="88898"/>
                    <a:pt x="40865" y="86503"/>
                  </a:cubicBezTo>
                  <a:cubicBezTo>
                    <a:pt x="51513" y="80031"/>
                    <a:pt x="64640" y="79136"/>
                    <a:pt x="76068" y="84102"/>
                  </a:cubicBezTo>
                  <a:cubicBezTo>
                    <a:pt x="78311" y="84975"/>
                    <a:pt x="80838" y="83865"/>
                    <a:pt x="81711" y="81622"/>
                  </a:cubicBezTo>
                  <a:cubicBezTo>
                    <a:pt x="82563" y="79434"/>
                    <a:pt x="81528" y="76963"/>
                    <a:pt x="79371" y="76036"/>
                  </a:cubicBezTo>
                  <a:cubicBezTo>
                    <a:pt x="65767" y="69920"/>
                    <a:pt x="50029" y="70859"/>
                    <a:pt x="37248" y="78548"/>
                  </a:cubicBezTo>
                  <a:cubicBezTo>
                    <a:pt x="32750" y="80709"/>
                    <a:pt x="28075" y="82479"/>
                    <a:pt x="23274" y="83837"/>
                  </a:cubicBezTo>
                  <a:cubicBezTo>
                    <a:pt x="20930" y="84424"/>
                    <a:pt x="19507" y="86800"/>
                    <a:pt x="20095" y="89143"/>
                  </a:cubicBezTo>
                  <a:cubicBezTo>
                    <a:pt x="20682" y="91486"/>
                    <a:pt x="23058" y="92909"/>
                    <a:pt x="25401" y="92322"/>
                  </a:cubicBezTo>
                  <a:cubicBezTo>
                    <a:pt x="25412" y="92319"/>
                    <a:pt x="25422" y="92317"/>
                    <a:pt x="25432" y="92314"/>
                  </a:cubicBezTo>
                  <a:close/>
                  <a:moveTo>
                    <a:pt x="25473" y="113735"/>
                  </a:moveTo>
                  <a:lnTo>
                    <a:pt x="25473" y="113735"/>
                  </a:lnTo>
                  <a:cubicBezTo>
                    <a:pt x="30765" y="112235"/>
                    <a:pt x="35916" y="110276"/>
                    <a:pt x="40867" y="107881"/>
                  </a:cubicBezTo>
                  <a:cubicBezTo>
                    <a:pt x="51529" y="101410"/>
                    <a:pt x="64669" y="100515"/>
                    <a:pt x="76110" y="105481"/>
                  </a:cubicBezTo>
                  <a:cubicBezTo>
                    <a:pt x="78305" y="106394"/>
                    <a:pt x="80825" y="105356"/>
                    <a:pt x="81739" y="103160"/>
                  </a:cubicBezTo>
                  <a:cubicBezTo>
                    <a:pt x="81739" y="103160"/>
                    <a:pt x="81739" y="103160"/>
                    <a:pt x="81739" y="103160"/>
                  </a:cubicBezTo>
                  <a:lnTo>
                    <a:pt x="81756" y="103118"/>
                  </a:lnTo>
                  <a:cubicBezTo>
                    <a:pt x="82670" y="100886"/>
                    <a:pt x="81605" y="98334"/>
                    <a:pt x="79375" y="97415"/>
                  </a:cubicBezTo>
                  <a:cubicBezTo>
                    <a:pt x="65766" y="91317"/>
                    <a:pt x="50036" y="92257"/>
                    <a:pt x="37251" y="99931"/>
                  </a:cubicBezTo>
                  <a:cubicBezTo>
                    <a:pt x="32754" y="102104"/>
                    <a:pt x="28079" y="103886"/>
                    <a:pt x="23277" y="105256"/>
                  </a:cubicBezTo>
                  <a:cubicBezTo>
                    <a:pt x="20953" y="105854"/>
                    <a:pt x="19546" y="108215"/>
                    <a:pt x="20128" y="110544"/>
                  </a:cubicBezTo>
                  <a:cubicBezTo>
                    <a:pt x="20740" y="112889"/>
                    <a:pt x="23120" y="114309"/>
                    <a:pt x="25474" y="113736"/>
                  </a:cubicBezTo>
                  <a:close/>
                  <a:moveTo>
                    <a:pt x="25473" y="49556"/>
                  </a:moveTo>
                  <a:lnTo>
                    <a:pt x="25473" y="49556"/>
                  </a:lnTo>
                  <a:cubicBezTo>
                    <a:pt x="30764" y="48069"/>
                    <a:pt x="35914" y="46123"/>
                    <a:pt x="40867" y="43741"/>
                  </a:cubicBezTo>
                  <a:cubicBezTo>
                    <a:pt x="51523" y="37248"/>
                    <a:pt x="64673" y="36353"/>
                    <a:pt x="76110" y="41340"/>
                  </a:cubicBezTo>
                  <a:cubicBezTo>
                    <a:pt x="78346" y="42220"/>
                    <a:pt x="80872" y="41120"/>
                    <a:pt x="81751" y="38883"/>
                  </a:cubicBezTo>
                  <a:cubicBezTo>
                    <a:pt x="82619" y="36679"/>
                    <a:pt x="81562" y="34185"/>
                    <a:pt x="79375" y="33274"/>
                  </a:cubicBezTo>
                  <a:cubicBezTo>
                    <a:pt x="65773" y="27166"/>
                    <a:pt x="50043" y="28090"/>
                    <a:pt x="37251" y="35751"/>
                  </a:cubicBezTo>
                  <a:cubicBezTo>
                    <a:pt x="32755" y="37923"/>
                    <a:pt x="28080" y="39704"/>
                    <a:pt x="23278" y="41074"/>
                  </a:cubicBezTo>
                  <a:cubicBezTo>
                    <a:pt x="20915" y="41596"/>
                    <a:pt x="19421" y="43934"/>
                    <a:pt x="19943" y="46297"/>
                  </a:cubicBezTo>
                  <a:cubicBezTo>
                    <a:pt x="20464" y="48660"/>
                    <a:pt x="22802" y="50153"/>
                    <a:pt x="25165" y="49632"/>
                  </a:cubicBezTo>
                  <a:cubicBezTo>
                    <a:pt x="25269" y="49609"/>
                    <a:pt x="25372" y="49582"/>
                    <a:pt x="25474" y="49552"/>
                  </a:cubicBezTo>
                  <a:close/>
                  <a:moveTo>
                    <a:pt x="99177" y="26373"/>
                  </a:moveTo>
                  <a:lnTo>
                    <a:pt x="99177" y="26373"/>
                  </a:lnTo>
                  <a:lnTo>
                    <a:pt x="99177" y="125174"/>
                  </a:lnTo>
                  <a:cubicBezTo>
                    <a:pt x="115216" y="113650"/>
                    <a:pt x="136563" y="112738"/>
                    <a:pt x="153528" y="122851"/>
                  </a:cubicBezTo>
                  <a:cubicBezTo>
                    <a:pt x="160208" y="126363"/>
                    <a:pt x="167509" y="128541"/>
                    <a:pt x="175022" y="129262"/>
                  </a:cubicBezTo>
                  <a:lnTo>
                    <a:pt x="175022" y="27987"/>
                  </a:lnTo>
                  <a:cubicBezTo>
                    <a:pt x="165423" y="27394"/>
                    <a:pt x="156059" y="24773"/>
                    <a:pt x="147547" y="20298"/>
                  </a:cubicBezTo>
                  <a:cubicBezTo>
                    <a:pt x="135375" y="14785"/>
                    <a:pt x="124348" y="9796"/>
                    <a:pt x="99177" y="26374"/>
                  </a:cubicBezTo>
                  <a:close/>
                  <a:moveTo>
                    <a:pt x="90439" y="125174"/>
                  </a:moveTo>
                  <a:lnTo>
                    <a:pt x="90439" y="125174"/>
                  </a:lnTo>
                  <a:lnTo>
                    <a:pt x="90439" y="26373"/>
                  </a:lnTo>
                  <a:cubicBezTo>
                    <a:pt x="65250" y="9799"/>
                    <a:pt x="54244" y="14784"/>
                    <a:pt x="42070" y="20297"/>
                  </a:cubicBezTo>
                  <a:cubicBezTo>
                    <a:pt x="33550" y="24769"/>
                    <a:pt x="24181" y="27389"/>
                    <a:pt x="14576" y="27985"/>
                  </a:cubicBezTo>
                  <a:lnTo>
                    <a:pt x="14576" y="129264"/>
                  </a:lnTo>
                  <a:cubicBezTo>
                    <a:pt x="22093" y="128540"/>
                    <a:pt x="29398" y="126363"/>
                    <a:pt x="36086" y="122853"/>
                  </a:cubicBezTo>
                  <a:cubicBezTo>
                    <a:pt x="53051" y="112740"/>
                    <a:pt x="74398" y="113653"/>
                    <a:pt x="90439" y="125176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</p:grpSp>
      <p:grpSp>
        <p:nvGrpSpPr>
          <p:cNvPr id="111" name="Gruppieren 110"/>
          <p:cNvGrpSpPr/>
          <p:nvPr/>
        </p:nvGrpSpPr>
        <p:grpSpPr>
          <a:xfrm>
            <a:off x="5909589" y="5448396"/>
            <a:ext cx="648000" cy="648000"/>
            <a:chOff x="7785990" y="2489744"/>
            <a:chExt cx="408357" cy="408357"/>
          </a:xfrm>
        </p:grpSpPr>
        <p:sp>
          <p:nvSpPr>
            <p:cNvPr id="112" name="Freeform: Shape 374">
              <a:extLst>
                <a:ext uri="{FF2B5EF4-FFF2-40B4-BE49-F238E27FC236}">
                  <a16:creationId xmlns:a16="http://schemas.microsoft.com/office/drawing/2014/main" id="{4940B74F-2D91-4C50-85F6-16E4769F493C}"/>
                </a:ext>
              </a:extLst>
            </p:cNvPr>
            <p:cNvSpPr/>
            <p:nvPr/>
          </p:nvSpPr>
          <p:spPr>
            <a:xfrm>
              <a:off x="7785990" y="2489744"/>
              <a:ext cx="408357" cy="408357"/>
            </a:xfrm>
            <a:custGeom>
              <a:avLst/>
              <a:gdLst>
                <a:gd name="connsiteX0" fmla="*/ 0 w 306268"/>
                <a:gd name="connsiteY0" fmla="*/ 0 h 306268"/>
                <a:gd name="connsiteX1" fmla="*/ 306269 w 306268"/>
                <a:gd name="connsiteY1" fmla="*/ 0 h 306268"/>
                <a:gd name="connsiteX2" fmla="*/ 306269 w 306268"/>
                <a:gd name="connsiteY2" fmla="*/ 306269 h 306268"/>
                <a:gd name="connsiteX3" fmla="*/ 0 w 306268"/>
                <a:gd name="connsiteY3" fmla="*/ 306269 h 3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268" h="306268">
                  <a:moveTo>
                    <a:pt x="0" y="0"/>
                  </a:moveTo>
                  <a:lnTo>
                    <a:pt x="306269" y="0"/>
                  </a:lnTo>
                  <a:lnTo>
                    <a:pt x="306269" y="306269"/>
                  </a:lnTo>
                  <a:lnTo>
                    <a:pt x="0" y="306269"/>
                  </a:lnTo>
                  <a:close/>
                </a:path>
              </a:pathLst>
            </a:custGeom>
            <a:noFill/>
            <a:ln w="19050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113" name="Freeform: Shape 375">
              <a:extLst>
                <a:ext uri="{FF2B5EF4-FFF2-40B4-BE49-F238E27FC236}">
                  <a16:creationId xmlns:a16="http://schemas.microsoft.com/office/drawing/2014/main" id="{14D0997A-9257-4B14-8C8F-0FC6567A3872}"/>
                </a:ext>
              </a:extLst>
            </p:cNvPr>
            <p:cNvSpPr/>
            <p:nvPr/>
          </p:nvSpPr>
          <p:spPr>
            <a:xfrm>
              <a:off x="7863774" y="2598041"/>
              <a:ext cx="252787" cy="191757"/>
            </a:xfrm>
            <a:custGeom>
              <a:avLst/>
              <a:gdLst>
                <a:gd name="connsiteX0" fmla="*/ 8569 w 189590"/>
                <a:gd name="connsiteY0" fmla="*/ 13392 h 143818"/>
                <a:gd name="connsiteX1" fmla="*/ 36082 w 189590"/>
                <a:gd name="connsiteY1" fmla="*/ 7017 h 143818"/>
                <a:gd name="connsiteX2" fmla="*/ 94783 w 189590"/>
                <a:gd name="connsiteY2" fmla="*/ 11896 h 143818"/>
                <a:gd name="connsiteX3" fmla="*/ 153524 w 189590"/>
                <a:gd name="connsiteY3" fmla="*/ 7017 h 143818"/>
                <a:gd name="connsiteX4" fmla="*/ 181659 w 189590"/>
                <a:gd name="connsiteY4" fmla="*/ 13320 h 143818"/>
                <a:gd name="connsiteX5" fmla="*/ 189533 w 189590"/>
                <a:gd name="connsiteY5" fmla="*/ 19922 h 143818"/>
                <a:gd name="connsiteX6" fmla="*/ 189552 w 189590"/>
                <a:gd name="connsiteY6" fmla="*/ 20559 h 143818"/>
                <a:gd name="connsiteX7" fmla="*/ 189590 w 189590"/>
                <a:gd name="connsiteY7" fmla="*/ 20559 h 143818"/>
                <a:gd name="connsiteX8" fmla="*/ 189590 w 189590"/>
                <a:gd name="connsiteY8" fmla="*/ 136383 h 143818"/>
                <a:gd name="connsiteX9" fmla="*/ 182368 w 189590"/>
                <a:gd name="connsiteY9" fmla="*/ 143658 h 143818"/>
                <a:gd name="connsiteX10" fmla="*/ 182366 w 189590"/>
                <a:gd name="connsiteY10" fmla="*/ 143658 h 143818"/>
                <a:gd name="connsiteX11" fmla="*/ 182240 w 189590"/>
                <a:gd name="connsiteY11" fmla="*/ 143658 h 143818"/>
                <a:gd name="connsiteX12" fmla="*/ 147544 w 189590"/>
                <a:gd name="connsiteY12" fmla="*/ 136122 h 143818"/>
                <a:gd name="connsiteX13" fmla="*/ 98817 w 189590"/>
                <a:gd name="connsiteY13" fmla="*/ 142460 h 143818"/>
                <a:gd name="connsiteX14" fmla="*/ 90790 w 189590"/>
                <a:gd name="connsiteY14" fmla="*/ 142460 h 143818"/>
                <a:gd name="connsiteX15" fmla="*/ 42066 w 189590"/>
                <a:gd name="connsiteY15" fmla="*/ 136122 h 143818"/>
                <a:gd name="connsiteX16" fmla="*/ 6676 w 189590"/>
                <a:gd name="connsiteY16" fmla="*/ 143624 h 143818"/>
                <a:gd name="connsiteX17" fmla="*/ 34 w 189590"/>
                <a:gd name="connsiteY17" fmla="*/ 136385 h 143818"/>
                <a:gd name="connsiteX18" fmla="*/ 0 w 189590"/>
                <a:gd name="connsiteY18" fmla="*/ 136385 h 143818"/>
                <a:gd name="connsiteX19" fmla="*/ 0 w 189590"/>
                <a:gd name="connsiteY19" fmla="*/ 20561 h 143818"/>
                <a:gd name="connsiteX20" fmla="*/ 7294 w 189590"/>
                <a:gd name="connsiteY20" fmla="*/ 13245 h 143818"/>
                <a:gd name="connsiteX21" fmla="*/ 8570 w 189590"/>
                <a:gd name="connsiteY21" fmla="*/ 13395 h 143818"/>
                <a:gd name="connsiteX22" fmla="*/ 166303 w 189590"/>
                <a:gd name="connsiteY22" fmla="*/ 62457 h 143818"/>
                <a:gd name="connsiteX23" fmla="*/ 166303 w 189590"/>
                <a:gd name="connsiteY23" fmla="*/ 62457 h 143818"/>
                <a:gd name="connsiteX24" fmla="*/ 152349 w 189590"/>
                <a:gd name="connsiteY24" fmla="*/ 57130 h 143818"/>
                <a:gd name="connsiteX25" fmla="*/ 110243 w 189590"/>
                <a:gd name="connsiteY25" fmla="*/ 54653 h 143818"/>
                <a:gd name="connsiteX26" fmla="*/ 107821 w 189590"/>
                <a:gd name="connsiteY26" fmla="*/ 60311 h 143818"/>
                <a:gd name="connsiteX27" fmla="*/ 113479 w 189590"/>
                <a:gd name="connsiteY27" fmla="*/ 62734 h 143818"/>
                <a:gd name="connsiteX28" fmla="*/ 113524 w 189590"/>
                <a:gd name="connsiteY28" fmla="*/ 62715 h 143818"/>
                <a:gd name="connsiteX29" fmla="*/ 148726 w 189590"/>
                <a:gd name="connsiteY29" fmla="*/ 65117 h 143818"/>
                <a:gd name="connsiteX30" fmla="*/ 164144 w 189590"/>
                <a:gd name="connsiteY30" fmla="*/ 70927 h 143818"/>
                <a:gd name="connsiteX31" fmla="*/ 169474 w 189590"/>
                <a:gd name="connsiteY31" fmla="*/ 67787 h 143818"/>
                <a:gd name="connsiteX32" fmla="*/ 166333 w 189590"/>
                <a:gd name="connsiteY32" fmla="*/ 62458 h 143818"/>
                <a:gd name="connsiteX33" fmla="*/ 166303 w 189590"/>
                <a:gd name="connsiteY33" fmla="*/ 62450 h 143818"/>
                <a:gd name="connsiteX34" fmla="*/ 166303 w 189590"/>
                <a:gd name="connsiteY34" fmla="*/ 83836 h 143818"/>
                <a:gd name="connsiteX35" fmla="*/ 166303 w 189590"/>
                <a:gd name="connsiteY35" fmla="*/ 83836 h 143818"/>
                <a:gd name="connsiteX36" fmla="*/ 152349 w 189590"/>
                <a:gd name="connsiteY36" fmla="*/ 78548 h 143818"/>
                <a:gd name="connsiteX37" fmla="*/ 110243 w 189590"/>
                <a:gd name="connsiteY37" fmla="*/ 76035 h 143818"/>
                <a:gd name="connsiteX38" fmla="*/ 107906 w 189590"/>
                <a:gd name="connsiteY38" fmla="*/ 81731 h 143818"/>
                <a:gd name="connsiteX39" fmla="*/ 113524 w 189590"/>
                <a:gd name="connsiteY39" fmla="*/ 84101 h 143818"/>
                <a:gd name="connsiteX40" fmla="*/ 148726 w 189590"/>
                <a:gd name="connsiteY40" fmla="*/ 86502 h 143818"/>
                <a:gd name="connsiteX41" fmla="*/ 164145 w 189590"/>
                <a:gd name="connsiteY41" fmla="*/ 92312 h 143818"/>
                <a:gd name="connsiteX42" fmla="*/ 169474 w 189590"/>
                <a:gd name="connsiteY42" fmla="*/ 89172 h 143818"/>
                <a:gd name="connsiteX43" fmla="*/ 166334 w 189590"/>
                <a:gd name="connsiteY43" fmla="*/ 83843 h 143818"/>
                <a:gd name="connsiteX44" fmla="*/ 166303 w 189590"/>
                <a:gd name="connsiteY44" fmla="*/ 83835 h 143818"/>
                <a:gd name="connsiteX45" fmla="*/ 166303 w 189590"/>
                <a:gd name="connsiteY45" fmla="*/ 105253 h 143818"/>
                <a:gd name="connsiteX46" fmla="*/ 166303 w 189590"/>
                <a:gd name="connsiteY46" fmla="*/ 105253 h 143818"/>
                <a:gd name="connsiteX47" fmla="*/ 152349 w 189590"/>
                <a:gd name="connsiteY47" fmla="*/ 99929 h 143818"/>
                <a:gd name="connsiteX48" fmla="*/ 110243 w 189590"/>
                <a:gd name="connsiteY48" fmla="*/ 97412 h 143818"/>
                <a:gd name="connsiteX49" fmla="*/ 107862 w 189590"/>
                <a:gd name="connsiteY49" fmla="*/ 103117 h 143818"/>
                <a:gd name="connsiteX50" fmla="*/ 113470 w 189590"/>
                <a:gd name="connsiteY50" fmla="*/ 105498 h 143818"/>
                <a:gd name="connsiteX51" fmla="*/ 113524 w 189590"/>
                <a:gd name="connsiteY51" fmla="*/ 105475 h 143818"/>
                <a:gd name="connsiteX52" fmla="*/ 148726 w 189590"/>
                <a:gd name="connsiteY52" fmla="*/ 107876 h 143818"/>
                <a:gd name="connsiteX53" fmla="*/ 164145 w 189590"/>
                <a:gd name="connsiteY53" fmla="*/ 113730 h 143818"/>
                <a:gd name="connsiteX54" fmla="*/ 169472 w 189590"/>
                <a:gd name="connsiteY54" fmla="*/ 110538 h 143818"/>
                <a:gd name="connsiteX55" fmla="*/ 166341 w 189590"/>
                <a:gd name="connsiteY55" fmla="*/ 105259 h 143818"/>
                <a:gd name="connsiteX56" fmla="*/ 166303 w 189590"/>
                <a:gd name="connsiteY56" fmla="*/ 105249 h 143818"/>
                <a:gd name="connsiteX57" fmla="*/ 166303 w 189590"/>
                <a:gd name="connsiteY57" fmla="*/ 41074 h 143818"/>
                <a:gd name="connsiteX58" fmla="*/ 166303 w 189590"/>
                <a:gd name="connsiteY58" fmla="*/ 41074 h 143818"/>
                <a:gd name="connsiteX59" fmla="*/ 152349 w 189590"/>
                <a:gd name="connsiteY59" fmla="*/ 35750 h 143818"/>
                <a:gd name="connsiteX60" fmla="*/ 110243 w 189590"/>
                <a:gd name="connsiteY60" fmla="*/ 33273 h 143818"/>
                <a:gd name="connsiteX61" fmla="*/ 107906 w 189590"/>
                <a:gd name="connsiteY61" fmla="*/ 38970 h 143818"/>
                <a:gd name="connsiteX62" fmla="*/ 113524 w 189590"/>
                <a:gd name="connsiteY62" fmla="*/ 41339 h 143818"/>
                <a:gd name="connsiteX63" fmla="*/ 148726 w 189590"/>
                <a:gd name="connsiteY63" fmla="*/ 43740 h 143818"/>
                <a:gd name="connsiteX64" fmla="*/ 164145 w 189590"/>
                <a:gd name="connsiteY64" fmla="*/ 49555 h 143818"/>
                <a:gd name="connsiteX65" fmla="*/ 169506 w 189590"/>
                <a:gd name="connsiteY65" fmla="*/ 46463 h 143818"/>
                <a:gd name="connsiteX66" fmla="*/ 166415 w 189590"/>
                <a:gd name="connsiteY66" fmla="*/ 41102 h 143818"/>
                <a:gd name="connsiteX67" fmla="*/ 166362 w 189590"/>
                <a:gd name="connsiteY67" fmla="*/ 41089 h 143818"/>
                <a:gd name="connsiteX68" fmla="*/ 166303 w 189590"/>
                <a:gd name="connsiteY68" fmla="*/ 41073 h 143818"/>
                <a:gd name="connsiteX69" fmla="*/ 25435 w 189590"/>
                <a:gd name="connsiteY69" fmla="*/ 70934 h 143818"/>
                <a:gd name="connsiteX70" fmla="*/ 25435 w 189590"/>
                <a:gd name="connsiteY70" fmla="*/ 70934 h 143818"/>
                <a:gd name="connsiteX71" fmla="*/ 40865 w 189590"/>
                <a:gd name="connsiteY71" fmla="*/ 65124 h 143818"/>
                <a:gd name="connsiteX72" fmla="*/ 76068 w 189590"/>
                <a:gd name="connsiteY72" fmla="*/ 62723 h 143818"/>
                <a:gd name="connsiteX73" fmla="*/ 81714 w 189590"/>
                <a:gd name="connsiteY73" fmla="*/ 60257 h 143818"/>
                <a:gd name="connsiteX74" fmla="*/ 79371 w 189590"/>
                <a:gd name="connsiteY74" fmla="*/ 54661 h 143818"/>
                <a:gd name="connsiteX75" fmla="*/ 37248 w 189590"/>
                <a:gd name="connsiteY75" fmla="*/ 57137 h 143818"/>
                <a:gd name="connsiteX76" fmla="*/ 23274 w 189590"/>
                <a:gd name="connsiteY76" fmla="*/ 62465 h 143818"/>
                <a:gd name="connsiteX77" fmla="*/ 20095 w 189590"/>
                <a:gd name="connsiteY77" fmla="*/ 67771 h 143818"/>
                <a:gd name="connsiteX78" fmla="*/ 25401 w 189590"/>
                <a:gd name="connsiteY78" fmla="*/ 70950 h 143818"/>
                <a:gd name="connsiteX79" fmla="*/ 25432 w 189590"/>
                <a:gd name="connsiteY79" fmla="*/ 70942 h 143818"/>
                <a:gd name="connsiteX80" fmla="*/ 25435 w 189590"/>
                <a:gd name="connsiteY80" fmla="*/ 92313 h 143818"/>
                <a:gd name="connsiteX81" fmla="*/ 25435 w 189590"/>
                <a:gd name="connsiteY81" fmla="*/ 92313 h 143818"/>
                <a:gd name="connsiteX82" fmla="*/ 40865 w 189590"/>
                <a:gd name="connsiteY82" fmla="*/ 86503 h 143818"/>
                <a:gd name="connsiteX83" fmla="*/ 76068 w 189590"/>
                <a:gd name="connsiteY83" fmla="*/ 84102 h 143818"/>
                <a:gd name="connsiteX84" fmla="*/ 81711 w 189590"/>
                <a:gd name="connsiteY84" fmla="*/ 81622 h 143818"/>
                <a:gd name="connsiteX85" fmla="*/ 79371 w 189590"/>
                <a:gd name="connsiteY85" fmla="*/ 76036 h 143818"/>
                <a:gd name="connsiteX86" fmla="*/ 37248 w 189590"/>
                <a:gd name="connsiteY86" fmla="*/ 78548 h 143818"/>
                <a:gd name="connsiteX87" fmla="*/ 23274 w 189590"/>
                <a:gd name="connsiteY87" fmla="*/ 83837 h 143818"/>
                <a:gd name="connsiteX88" fmla="*/ 20095 w 189590"/>
                <a:gd name="connsiteY88" fmla="*/ 89143 h 143818"/>
                <a:gd name="connsiteX89" fmla="*/ 25401 w 189590"/>
                <a:gd name="connsiteY89" fmla="*/ 92322 h 143818"/>
                <a:gd name="connsiteX90" fmla="*/ 25432 w 189590"/>
                <a:gd name="connsiteY90" fmla="*/ 92314 h 143818"/>
                <a:gd name="connsiteX91" fmla="*/ 25473 w 189590"/>
                <a:gd name="connsiteY91" fmla="*/ 113735 h 143818"/>
                <a:gd name="connsiteX92" fmla="*/ 25473 w 189590"/>
                <a:gd name="connsiteY92" fmla="*/ 113735 h 143818"/>
                <a:gd name="connsiteX93" fmla="*/ 40867 w 189590"/>
                <a:gd name="connsiteY93" fmla="*/ 107881 h 143818"/>
                <a:gd name="connsiteX94" fmla="*/ 76110 w 189590"/>
                <a:gd name="connsiteY94" fmla="*/ 105481 h 143818"/>
                <a:gd name="connsiteX95" fmla="*/ 81739 w 189590"/>
                <a:gd name="connsiteY95" fmla="*/ 103160 h 143818"/>
                <a:gd name="connsiteX96" fmla="*/ 81739 w 189590"/>
                <a:gd name="connsiteY96" fmla="*/ 103160 h 143818"/>
                <a:gd name="connsiteX97" fmla="*/ 81756 w 189590"/>
                <a:gd name="connsiteY97" fmla="*/ 103118 h 143818"/>
                <a:gd name="connsiteX98" fmla="*/ 79375 w 189590"/>
                <a:gd name="connsiteY98" fmla="*/ 97415 h 143818"/>
                <a:gd name="connsiteX99" fmla="*/ 37251 w 189590"/>
                <a:gd name="connsiteY99" fmla="*/ 99931 h 143818"/>
                <a:gd name="connsiteX100" fmla="*/ 23277 w 189590"/>
                <a:gd name="connsiteY100" fmla="*/ 105256 h 143818"/>
                <a:gd name="connsiteX101" fmla="*/ 20128 w 189590"/>
                <a:gd name="connsiteY101" fmla="*/ 110544 h 143818"/>
                <a:gd name="connsiteX102" fmla="*/ 25474 w 189590"/>
                <a:gd name="connsiteY102" fmla="*/ 113736 h 143818"/>
                <a:gd name="connsiteX103" fmla="*/ 25473 w 189590"/>
                <a:gd name="connsiteY103" fmla="*/ 49556 h 143818"/>
                <a:gd name="connsiteX104" fmla="*/ 25473 w 189590"/>
                <a:gd name="connsiteY104" fmla="*/ 49556 h 143818"/>
                <a:gd name="connsiteX105" fmla="*/ 40867 w 189590"/>
                <a:gd name="connsiteY105" fmla="*/ 43741 h 143818"/>
                <a:gd name="connsiteX106" fmla="*/ 76110 w 189590"/>
                <a:gd name="connsiteY106" fmla="*/ 41340 h 143818"/>
                <a:gd name="connsiteX107" fmla="*/ 81751 w 189590"/>
                <a:gd name="connsiteY107" fmla="*/ 38883 h 143818"/>
                <a:gd name="connsiteX108" fmla="*/ 79375 w 189590"/>
                <a:gd name="connsiteY108" fmla="*/ 33274 h 143818"/>
                <a:gd name="connsiteX109" fmla="*/ 37251 w 189590"/>
                <a:gd name="connsiteY109" fmla="*/ 35751 h 143818"/>
                <a:gd name="connsiteX110" fmla="*/ 23278 w 189590"/>
                <a:gd name="connsiteY110" fmla="*/ 41074 h 143818"/>
                <a:gd name="connsiteX111" fmla="*/ 19943 w 189590"/>
                <a:gd name="connsiteY111" fmla="*/ 46297 h 143818"/>
                <a:gd name="connsiteX112" fmla="*/ 25165 w 189590"/>
                <a:gd name="connsiteY112" fmla="*/ 49632 h 143818"/>
                <a:gd name="connsiteX113" fmla="*/ 25474 w 189590"/>
                <a:gd name="connsiteY113" fmla="*/ 49552 h 143818"/>
                <a:gd name="connsiteX114" fmla="*/ 99177 w 189590"/>
                <a:gd name="connsiteY114" fmla="*/ 26373 h 143818"/>
                <a:gd name="connsiteX115" fmla="*/ 99177 w 189590"/>
                <a:gd name="connsiteY115" fmla="*/ 26373 h 143818"/>
                <a:gd name="connsiteX116" fmla="*/ 99177 w 189590"/>
                <a:gd name="connsiteY116" fmla="*/ 125174 h 143818"/>
                <a:gd name="connsiteX117" fmla="*/ 153528 w 189590"/>
                <a:gd name="connsiteY117" fmla="*/ 122851 h 143818"/>
                <a:gd name="connsiteX118" fmla="*/ 175022 w 189590"/>
                <a:gd name="connsiteY118" fmla="*/ 129262 h 143818"/>
                <a:gd name="connsiteX119" fmla="*/ 175022 w 189590"/>
                <a:gd name="connsiteY119" fmla="*/ 27987 h 143818"/>
                <a:gd name="connsiteX120" fmla="*/ 147547 w 189590"/>
                <a:gd name="connsiteY120" fmla="*/ 20298 h 143818"/>
                <a:gd name="connsiteX121" fmla="*/ 99177 w 189590"/>
                <a:gd name="connsiteY121" fmla="*/ 26374 h 143818"/>
                <a:gd name="connsiteX122" fmla="*/ 90439 w 189590"/>
                <a:gd name="connsiteY122" fmla="*/ 125174 h 143818"/>
                <a:gd name="connsiteX123" fmla="*/ 90439 w 189590"/>
                <a:gd name="connsiteY123" fmla="*/ 125174 h 143818"/>
                <a:gd name="connsiteX124" fmla="*/ 90439 w 189590"/>
                <a:gd name="connsiteY124" fmla="*/ 26373 h 143818"/>
                <a:gd name="connsiteX125" fmla="*/ 42070 w 189590"/>
                <a:gd name="connsiteY125" fmla="*/ 20297 h 143818"/>
                <a:gd name="connsiteX126" fmla="*/ 14576 w 189590"/>
                <a:gd name="connsiteY126" fmla="*/ 27985 h 143818"/>
                <a:gd name="connsiteX127" fmla="*/ 14576 w 189590"/>
                <a:gd name="connsiteY127" fmla="*/ 129264 h 143818"/>
                <a:gd name="connsiteX128" fmla="*/ 36086 w 189590"/>
                <a:gd name="connsiteY128" fmla="*/ 122853 h 143818"/>
                <a:gd name="connsiteX129" fmla="*/ 90439 w 189590"/>
                <a:gd name="connsiteY129" fmla="*/ 125176 h 14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189590" h="143818">
                  <a:moveTo>
                    <a:pt x="8569" y="13392"/>
                  </a:moveTo>
                  <a:cubicBezTo>
                    <a:pt x="18150" y="13819"/>
                    <a:pt x="27665" y="11615"/>
                    <a:pt x="36082" y="7017"/>
                  </a:cubicBezTo>
                  <a:cubicBezTo>
                    <a:pt x="54721" y="-3891"/>
                    <a:pt x="78200" y="-1940"/>
                    <a:pt x="94783" y="11896"/>
                  </a:cubicBezTo>
                  <a:cubicBezTo>
                    <a:pt x="111381" y="-1941"/>
                    <a:pt x="134871" y="-3892"/>
                    <a:pt x="153524" y="7017"/>
                  </a:cubicBezTo>
                  <a:cubicBezTo>
                    <a:pt x="162119" y="11731"/>
                    <a:pt x="171874" y="13916"/>
                    <a:pt x="181659" y="13320"/>
                  </a:cubicBezTo>
                  <a:cubicBezTo>
                    <a:pt x="185654" y="12977"/>
                    <a:pt x="189174" y="15929"/>
                    <a:pt x="189533" y="19922"/>
                  </a:cubicBezTo>
                  <a:lnTo>
                    <a:pt x="189552" y="20559"/>
                  </a:lnTo>
                  <a:lnTo>
                    <a:pt x="189590" y="20559"/>
                  </a:lnTo>
                  <a:lnTo>
                    <a:pt x="189590" y="136383"/>
                  </a:lnTo>
                  <a:cubicBezTo>
                    <a:pt x="189605" y="140387"/>
                    <a:pt x="186371" y="143643"/>
                    <a:pt x="182368" y="143658"/>
                  </a:cubicBezTo>
                  <a:cubicBezTo>
                    <a:pt x="182367" y="143658"/>
                    <a:pt x="182366" y="143658"/>
                    <a:pt x="182366" y="143658"/>
                  </a:cubicBezTo>
                  <a:lnTo>
                    <a:pt x="182240" y="143658"/>
                  </a:lnTo>
                  <a:cubicBezTo>
                    <a:pt x="170194" y="144496"/>
                    <a:pt x="158158" y="141882"/>
                    <a:pt x="147544" y="136122"/>
                  </a:cubicBezTo>
                  <a:cubicBezTo>
                    <a:pt x="135314" y="130607"/>
                    <a:pt x="124249" y="125578"/>
                    <a:pt x="98817" y="142460"/>
                  </a:cubicBezTo>
                  <a:cubicBezTo>
                    <a:pt x="96384" y="144073"/>
                    <a:pt x="93223" y="144073"/>
                    <a:pt x="90790" y="142460"/>
                  </a:cubicBezTo>
                  <a:cubicBezTo>
                    <a:pt x="65358" y="125578"/>
                    <a:pt x="54293" y="130607"/>
                    <a:pt x="42066" y="136122"/>
                  </a:cubicBezTo>
                  <a:cubicBezTo>
                    <a:pt x="31238" y="141978"/>
                    <a:pt x="18949" y="144583"/>
                    <a:pt x="6676" y="143624"/>
                  </a:cubicBezTo>
                  <a:cubicBezTo>
                    <a:pt x="2920" y="143300"/>
                    <a:pt x="35" y="140156"/>
                    <a:pt x="34" y="136385"/>
                  </a:cubicBezTo>
                  <a:lnTo>
                    <a:pt x="0" y="136385"/>
                  </a:lnTo>
                  <a:lnTo>
                    <a:pt x="0" y="20561"/>
                  </a:lnTo>
                  <a:cubicBezTo>
                    <a:pt x="10" y="16533"/>
                    <a:pt x="3266" y="13267"/>
                    <a:pt x="7294" y="13245"/>
                  </a:cubicBezTo>
                  <a:cubicBezTo>
                    <a:pt x="7723" y="13259"/>
                    <a:pt x="8150" y="13309"/>
                    <a:pt x="8570" y="13395"/>
                  </a:cubicBezTo>
                  <a:close/>
                  <a:moveTo>
                    <a:pt x="166303" y="62457"/>
                  </a:moveTo>
                  <a:lnTo>
                    <a:pt x="166303" y="62457"/>
                  </a:lnTo>
                  <a:cubicBezTo>
                    <a:pt x="161496" y="61120"/>
                    <a:pt x="156824" y="59336"/>
                    <a:pt x="152349" y="57130"/>
                  </a:cubicBezTo>
                  <a:cubicBezTo>
                    <a:pt x="139562" y="49472"/>
                    <a:pt x="123840" y="48547"/>
                    <a:pt x="110243" y="54653"/>
                  </a:cubicBezTo>
                  <a:cubicBezTo>
                    <a:pt x="108012" y="55547"/>
                    <a:pt x="106927" y="58080"/>
                    <a:pt x="107821" y="60311"/>
                  </a:cubicBezTo>
                  <a:cubicBezTo>
                    <a:pt x="108714" y="62542"/>
                    <a:pt x="111247" y="63627"/>
                    <a:pt x="113479" y="62734"/>
                  </a:cubicBezTo>
                  <a:cubicBezTo>
                    <a:pt x="113494" y="62728"/>
                    <a:pt x="113509" y="62722"/>
                    <a:pt x="113524" y="62715"/>
                  </a:cubicBezTo>
                  <a:cubicBezTo>
                    <a:pt x="124951" y="57752"/>
                    <a:pt x="138078" y="58647"/>
                    <a:pt x="148726" y="65117"/>
                  </a:cubicBezTo>
                  <a:cubicBezTo>
                    <a:pt x="153681" y="67512"/>
                    <a:pt x="158841" y="69457"/>
                    <a:pt x="164144" y="70927"/>
                  </a:cubicBezTo>
                  <a:cubicBezTo>
                    <a:pt x="166483" y="71531"/>
                    <a:pt x="168869" y="70126"/>
                    <a:pt x="169474" y="67787"/>
                  </a:cubicBezTo>
                  <a:cubicBezTo>
                    <a:pt x="170078" y="65448"/>
                    <a:pt x="168672" y="63062"/>
                    <a:pt x="166333" y="62458"/>
                  </a:cubicBezTo>
                  <a:cubicBezTo>
                    <a:pt x="166323" y="62455"/>
                    <a:pt x="166313" y="62452"/>
                    <a:pt x="166303" y="62450"/>
                  </a:cubicBezTo>
                  <a:close/>
                  <a:moveTo>
                    <a:pt x="166303" y="83836"/>
                  </a:moveTo>
                  <a:lnTo>
                    <a:pt x="166303" y="83836"/>
                  </a:lnTo>
                  <a:cubicBezTo>
                    <a:pt x="161508" y="82478"/>
                    <a:pt x="156839" y="80709"/>
                    <a:pt x="152349" y="78548"/>
                  </a:cubicBezTo>
                  <a:cubicBezTo>
                    <a:pt x="139574" y="70858"/>
                    <a:pt x="123842" y="69919"/>
                    <a:pt x="110243" y="76035"/>
                  </a:cubicBezTo>
                  <a:cubicBezTo>
                    <a:pt x="108025" y="76963"/>
                    <a:pt x="106978" y="79513"/>
                    <a:pt x="107906" y="81731"/>
                  </a:cubicBezTo>
                  <a:cubicBezTo>
                    <a:pt x="108821" y="83919"/>
                    <a:pt x="111318" y="84972"/>
                    <a:pt x="113524" y="84101"/>
                  </a:cubicBezTo>
                  <a:cubicBezTo>
                    <a:pt x="124951" y="79134"/>
                    <a:pt x="138079" y="80030"/>
                    <a:pt x="148726" y="86502"/>
                  </a:cubicBezTo>
                  <a:cubicBezTo>
                    <a:pt x="153681" y="88897"/>
                    <a:pt x="158841" y="90841"/>
                    <a:pt x="164145" y="92312"/>
                  </a:cubicBezTo>
                  <a:cubicBezTo>
                    <a:pt x="166483" y="92917"/>
                    <a:pt x="168869" y="91511"/>
                    <a:pt x="169474" y="89172"/>
                  </a:cubicBezTo>
                  <a:cubicBezTo>
                    <a:pt x="170079" y="86833"/>
                    <a:pt x="168673" y="84447"/>
                    <a:pt x="166334" y="83843"/>
                  </a:cubicBezTo>
                  <a:cubicBezTo>
                    <a:pt x="166324" y="83840"/>
                    <a:pt x="166313" y="83838"/>
                    <a:pt x="166303" y="83835"/>
                  </a:cubicBezTo>
                  <a:close/>
                  <a:moveTo>
                    <a:pt x="166303" y="105253"/>
                  </a:moveTo>
                  <a:lnTo>
                    <a:pt x="166303" y="105253"/>
                  </a:lnTo>
                  <a:cubicBezTo>
                    <a:pt x="161506" y="103884"/>
                    <a:pt x="156838" y="102103"/>
                    <a:pt x="152349" y="99929"/>
                  </a:cubicBezTo>
                  <a:cubicBezTo>
                    <a:pt x="139569" y="92256"/>
                    <a:pt x="123846" y="91316"/>
                    <a:pt x="110243" y="97412"/>
                  </a:cubicBezTo>
                  <a:cubicBezTo>
                    <a:pt x="108012" y="98331"/>
                    <a:pt x="106946" y="100884"/>
                    <a:pt x="107862" y="103117"/>
                  </a:cubicBezTo>
                  <a:cubicBezTo>
                    <a:pt x="108754" y="105322"/>
                    <a:pt x="111264" y="106388"/>
                    <a:pt x="113470" y="105498"/>
                  </a:cubicBezTo>
                  <a:lnTo>
                    <a:pt x="113524" y="105475"/>
                  </a:lnTo>
                  <a:cubicBezTo>
                    <a:pt x="124952" y="100511"/>
                    <a:pt x="138078" y="101407"/>
                    <a:pt x="148726" y="107876"/>
                  </a:cubicBezTo>
                  <a:cubicBezTo>
                    <a:pt x="153686" y="110271"/>
                    <a:pt x="158845" y="112229"/>
                    <a:pt x="164145" y="113730"/>
                  </a:cubicBezTo>
                  <a:cubicBezTo>
                    <a:pt x="166494" y="114302"/>
                    <a:pt x="168868" y="112880"/>
                    <a:pt x="169472" y="110538"/>
                  </a:cubicBezTo>
                  <a:cubicBezTo>
                    <a:pt x="170065" y="108216"/>
                    <a:pt x="168664" y="105852"/>
                    <a:pt x="166341" y="105259"/>
                  </a:cubicBezTo>
                  <a:lnTo>
                    <a:pt x="166303" y="105249"/>
                  </a:lnTo>
                  <a:close/>
                  <a:moveTo>
                    <a:pt x="166303" y="41074"/>
                  </a:moveTo>
                  <a:lnTo>
                    <a:pt x="166303" y="41074"/>
                  </a:lnTo>
                  <a:cubicBezTo>
                    <a:pt x="161506" y="39705"/>
                    <a:pt x="156838" y="37924"/>
                    <a:pt x="152349" y="35750"/>
                  </a:cubicBezTo>
                  <a:cubicBezTo>
                    <a:pt x="139562" y="28091"/>
                    <a:pt x="123839" y="27166"/>
                    <a:pt x="110243" y="33273"/>
                  </a:cubicBezTo>
                  <a:cubicBezTo>
                    <a:pt x="108025" y="34201"/>
                    <a:pt x="106978" y="36752"/>
                    <a:pt x="107906" y="38970"/>
                  </a:cubicBezTo>
                  <a:cubicBezTo>
                    <a:pt x="108821" y="41158"/>
                    <a:pt x="111318" y="42211"/>
                    <a:pt x="113524" y="41339"/>
                  </a:cubicBezTo>
                  <a:cubicBezTo>
                    <a:pt x="124948" y="36354"/>
                    <a:pt x="138085" y="37249"/>
                    <a:pt x="148726" y="43740"/>
                  </a:cubicBezTo>
                  <a:cubicBezTo>
                    <a:pt x="153688" y="46120"/>
                    <a:pt x="158847" y="48066"/>
                    <a:pt x="164145" y="49555"/>
                  </a:cubicBezTo>
                  <a:cubicBezTo>
                    <a:pt x="166479" y="50181"/>
                    <a:pt x="168879" y="48797"/>
                    <a:pt x="169506" y="46463"/>
                  </a:cubicBezTo>
                  <a:cubicBezTo>
                    <a:pt x="170132" y="44129"/>
                    <a:pt x="168748" y="41729"/>
                    <a:pt x="166415" y="41102"/>
                  </a:cubicBezTo>
                  <a:cubicBezTo>
                    <a:pt x="166397" y="41098"/>
                    <a:pt x="166380" y="41093"/>
                    <a:pt x="166362" y="41089"/>
                  </a:cubicBezTo>
                  <a:lnTo>
                    <a:pt x="166303" y="41073"/>
                  </a:lnTo>
                  <a:close/>
                  <a:moveTo>
                    <a:pt x="25435" y="70934"/>
                  </a:moveTo>
                  <a:lnTo>
                    <a:pt x="25435" y="70934"/>
                  </a:lnTo>
                  <a:cubicBezTo>
                    <a:pt x="30742" y="69464"/>
                    <a:pt x="35907" y="67520"/>
                    <a:pt x="40865" y="65124"/>
                  </a:cubicBezTo>
                  <a:cubicBezTo>
                    <a:pt x="51513" y="58655"/>
                    <a:pt x="64640" y="57759"/>
                    <a:pt x="76068" y="62723"/>
                  </a:cubicBezTo>
                  <a:cubicBezTo>
                    <a:pt x="78308" y="63601"/>
                    <a:pt x="80836" y="62497"/>
                    <a:pt x="81714" y="60257"/>
                  </a:cubicBezTo>
                  <a:cubicBezTo>
                    <a:pt x="82573" y="58065"/>
                    <a:pt x="81535" y="55587"/>
                    <a:pt x="79371" y="54661"/>
                  </a:cubicBezTo>
                  <a:cubicBezTo>
                    <a:pt x="65769" y="48554"/>
                    <a:pt x="50041" y="49478"/>
                    <a:pt x="37248" y="57137"/>
                  </a:cubicBezTo>
                  <a:cubicBezTo>
                    <a:pt x="32765" y="59342"/>
                    <a:pt x="28086" y="61125"/>
                    <a:pt x="23274" y="62465"/>
                  </a:cubicBezTo>
                  <a:cubicBezTo>
                    <a:pt x="20930" y="63052"/>
                    <a:pt x="19507" y="65428"/>
                    <a:pt x="20095" y="67771"/>
                  </a:cubicBezTo>
                  <a:cubicBezTo>
                    <a:pt x="20682" y="70114"/>
                    <a:pt x="23058" y="71537"/>
                    <a:pt x="25401" y="70950"/>
                  </a:cubicBezTo>
                  <a:cubicBezTo>
                    <a:pt x="25412" y="70947"/>
                    <a:pt x="25422" y="70944"/>
                    <a:pt x="25432" y="70942"/>
                  </a:cubicBezTo>
                  <a:close/>
                  <a:moveTo>
                    <a:pt x="25435" y="92313"/>
                  </a:moveTo>
                  <a:lnTo>
                    <a:pt x="25435" y="92313"/>
                  </a:lnTo>
                  <a:cubicBezTo>
                    <a:pt x="30742" y="90843"/>
                    <a:pt x="35906" y="88898"/>
                    <a:pt x="40865" y="86503"/>
                  </a:cubicBezTo>
                  <a:cubicBezTo>
                    <a:pt x="51513" y="80031"/>
                    <a:pt x="64640" y="79136"/>
                    <a:pt x="76068" y="84102"/>
                  </a:cubicBezTo>
                  <a:cubicBezTo>
                    <a:pt x="78311" y="84975"/>
                    <a:pt x="80838" y="83865"/>
                    <a:pt x="81711" y="81622"/>
                  </a:cubicBezTo>
                  <a:cubicBezTo>
                    <a:pt x="82563" y="79434"/>
                    <a:pt x="81528" y="76963"/>
                    <a:pt x="79371" y="76036"/>
                  </a:cubicBezTo>
                  <a:cubicBezTo>
                    <a:pt x="65767" y="69920"/>
                    <a:pt x="50029" y="70859"/>
                    <a:pt x="37248" y="78548"/>
                  </a:cubicBezTo>
                  <a:cubicBezTo>
                    <a:pt x="32750" y="80709"/>
                    <a:pt x="28075" y="82479"/>
                    <a:pt x="23274" y="83837"/>
                  </a:cubicBezTo>
                  <a:cubicBezTo>
                    <a:pt x="20930" y="84424"/>
                    <a:pt x="19507" y="86800"/>
                    <a:pt x="20095" y="89143"/>
                  </a:cubicBezTo>
                  <a:cubicBezTo>
                    <a:pt x="20682" y="91486"/>
                    <a:pt x="23058" y="92909"/>
                    <a:pt x="25401" y="92322"/>
                  </a:cubicBezTo>
                  <a:cubicBezTo>
                    <a:pt x="25412" y="92319"/>
                    <a:pt x="25422" y="92317"/>
                    <a:pt x="25432" y="92314"/>
                  </a:cubicBezTo>
                  <a:close/>
                  <a:moveTo>
                    <a:pt x="25473" y="113735"/>
                  </a:moveTo>
                  <a:lnTo>
                    <a:pt x="25473" y="113735"/>
                  </a:lnTo>
                  <a:cubicBezTo>
                    <a:pt x="30765" y="112235"/>
                    <a:pt x="35916" y="110276"/>
                    <a:pt x="40867" y="107881"/>
                  </a:cubicBezTo>
                  <a:cubicBezTo>
                    <a:pt x="51529" y="101410"/>
                    <a:pt x="64669" y="100515"/>
                    <a:pt x="76110" y="105481"/>
                  </a:cubicBezTo>
                  <a:cubicBezTo>
                    <a:pt x="78305" y="106394"/>
                    <a:pt x="80825" y="105356"/>
                    <a:pt x="81739" y="103160"/>
                  </a:cubicBezTo>
                  <a:cubicBezTo>
                    <a:pt x="81739" y="103160"/>
                    <a:pt x="81739" y="103160"/>
                    <a:pt x="81739" y="103160"/>
                  </a:cubicBezTo>
                  <a:lnTo>
                    <a:pt x="81756" y="103118"/>
                  </a:lnTo>
                  <a:cubicBezTo>
                    <a:pt x="82670" y="100886"/>
                    <a:pt x="81605" y="98334"/>
                    <a:pt x="79375" y="97415"/>
                  </a:cubicBezTo>
                  <a:cubicBezTo>
                    <a:pt x="65766" y="91317"/>
                    <a:pt x="50036" y="92257"/>
                    <a:pt x="37251" y="99931"/>
                  </a:cubicBezTo>
                  <a:cubicBezTo>
                    <a:pt x="32754" y="102104"/>
                    <a:pt x="28079" y="103886"/>
                    <a:pt x="23277" y="105256"/>
                  </a:cubicBezTo>
                  <a:cubicBezTo>
                    <a:pt x="20953" y="105854"/>
                    <a:pt x="19546" y="108215"/>
                    <a:pt x="20128" y="110544"/>
                  </a:cubicBezTo>
                  <a:cubicBezTo>
                    <a:pt x="20740" y="112889"/>
                    <a:pt x="23120" y="114309"/>
                    <a:pt x="25474" y="113736"/>
                  </a:cubicBezTo>
                  <a:close/>
                  <a:moveTo>
                    <a:pt x="25473" y="49556"/>
                  </a:moveTo>
                  <a:lnTo>
                    <a:pt x="25473" y="49556"/>
                  </a:lnTo>
                  <a:cubicBezTo>
                    <a:pt x="30764" y="48069"/>
                    <a:pt x="35914" y="46123"/>
                    <a:pt x="40867" y="43741"/>
                  </a:cubicBezTo>
                  <a:cubicBezTo>
                    <a:pt x="51523" y="37248"/>
                    <a:pt x="64673" y="36353"/>
                    <a:pt x="76110" y="41340"/>
                  </a:cubicBezTo>
                  <a:cubicBezTo>
                    <a:pt x="78346" y="42220"/>
                    <a:pt x="80872" y="41120"/>
                    <a:pt x="81751" y="38883"/>
                  </a:cubicBezTo>
                  <a:cubicBezTo>
                    <a:pt x="82619" y="36679"/>
                    <a:pt x="81562" y="34185"/>
                    <a:pt x="79375" y="33274"/>
                  </a:cubicBezTo>
                  <a:cubicBezTo>
                    <a:pt x="65773" y="27166"/>
                    <a:pt x="50043" y="28090"/>
                    <a:pt x="37251" y="35751"/>
                  </a:cubicBezTo>
                  <a:cubicBezTo>
                    <a:pt x="32755" y="37923"/>
                    <a:pt x="28080" y="39704"/>
                    <a:pt x="23278" y="41074"/>
                  </a:cubicBezTo>
                  <a:cubicBezTo>
                    <a:pt x="20915" y="41596"/>
                    <a:pt x="19421" y="43934"/>
                    <a:pt x="19943" y="46297"/>
                  </a:cubicBezTo>
                  <a:cubicBezTo>
                    <a:pt x="20464" y="48660"/>
                    <a:pt x="22802" y="50153"/>
                    <a:pt x="25165" y="49632"/>
                  </a:cubicBezTo>
                  <a:cubicBezTo>
                    <a:pt x="25269" y="49609"/>
                    <a:pt x="25372" y="49582"/>
                    <a:pt x="25474" y="49552"/>
                  </a:cubicBezTo>
                  <a:close/>
                  <a:moveTo>
                    <a:pt x="99177" y="26373"/>
                  </a:moveTo>
                  <a:lnTo>
                    <a:pt x="99177" y="26373"/>
                  </a:lnTo>
                  <a:lnTo>
                    <a:pt x="99177" y="125174"/>
                  </a:lnTo>
                  <a:cubicBezTo>
                    <a:pt x="115216" y="113650"/>
                    <a:pt x="136563" y="112738"/>
                    <a:pt x="153528" y="122851"/>
                  </a:cubicBezTo>
                  <a:cubicBezTo>
                    <a:pt x="160208" y="126363"/>
                    <a:pt x="167509" y="128541"/>
                    <a:pt x="175022" y="129262"/>
                  </a:cubicBezTo>
                  <a:lnTo>
                    <a:pt x="175022" y="27987"/>
                  </a:lnTo>
                  <a:cubicBezTo>
                    <a:pt x="165423" y="27394"/>
                    <a:pt x="156059" y="24773"/>
                    <a:pt x="147547" y="20298"/>
                  </a:cubicBezTo>
                  <a:cubicBezTo>
                    <a:pt x="135375" y="14785"/>
                    <a:pt x="124348" y="9796"/>
                    <a:pt x="99177" y="26374"/>
                  </a:cubicBezTo>
                  <a:close/>
                  <a:moveTo>
                    <a:pt x="90439" y="125174"/>
                  </a:moveTo>
                  <a:lnTo>
                    <a:pt x="90439" y="125174"/>
                  </a:lnTo>
                  <a:lnTo>
                    <a:pt x="90439" y="26373"/>
                  </a:lnTo>
                  <a:cubicBezTo>
                    <a:pt x="65250" y="9799"/>
                    <a:pt x="54244" y="14784"/>
                    <a:pt x="42070" y="20297"/>
                  </a:cubicBezTo>
                  <a:cubicBezTo>
                    <a:pt x="33550" y="24769"/>
                    <a:pt x="24181" y="27389"/>
                    <a:pt x="14576" y="27985"/>
                  </a:cubicBezTo>
                  <a:lnTo>
                    <a:pt x="14576" y="129264"/>
                  </a:lnTo>
                  <a:cubicBezTo>
                    <a:pt x="22093" y="128540"/>
                    <a:pt x="29398" y="126363"/>
                    <a:pt x="36086" y="122853"/>
                  </a:cubicBezTo>
                  <a:cubicBezTo>
                    <a:pt x="53051" y="112740"/>
                    <a:pt x="74398" y="113653"/>
                    <a:pt x="90439" y="125176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</p:grpSp>
      <p:sp>
        <p:nvSpPr>
          <p:cNvPr id="29" name="Rechteck 28"/>
          <p:cNvSpPr/>
          <p:nvPr/>
        </p:nvSpPr>
        <p:spPr>
          <a:xfrm>
            <a:off x="5783129" y="2946451"/>
            <a:ext cx="1730431" cy="326754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l">
              <a:lnSpc>
                <a:spcPct val="120000"/>
              </a:lnSpc>
              <a:buSzPct val="90000"/>
            </a:pPr>
            <a:endParaRPr lang="de-DE" sz="1600" b="1">
              <a:solidFill>
                <a:schemeClr val="accent3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0" name="Gruppieren 29"/>
          <p:cNvGrpSpPr>
            <a:grpSpLocks/>
          </p:cNvGrpSpPr>
          <p:nvPr/>
        </p:nvGrpSpPr>
        <p:grpSpPr>
          <a:xfrm>
            <a:off x="6324344" y="2178886"/>
            <a:ext cx="648000" cy="648000"/>
            <a:chOff x="6433371" y="2304673"/>
            <a:chExt cx="408357" cy="408357"/>
          </a:xfrm>
        </p:grpSpPr>
        <p:sp>
          <p:nvSpPr>
            <p:cNvPr id="118" name="Freeform: Shape 342">
              <a:extLst>
                <a:ext uri="{FF2B5EF4-FFF2-40B4-BE49-F238E27FC236}">
                  <a16:creationId xmlns:a16="http://schemas.microsoft.com/office/drawing/2014/main" id="{523347A9-D0E5-4A38-BB9B-C54914ED0E1D}"/>
                </a:ext>
              </a:extLst>
            </p:cNvPr>
            <p:cNvSpPr/>
            <p:nvPr/>
          </p:nvSpPr>
          <p:spPr>
            <a:xfrm>
              <a:off x="6433371" y="2304673"/>
              <a:ext cx="408357" cy="408357"/>
            </a:xfrm>
            <a:custGeom>
              <a:avLst/>
              <a:gdLst>
                <a:gd name="connsiteX0" fmla="*/ 0 w 306268"/>
                <a:gd name="connsiteY0" fmla="*/ 0 h 306268"/>
                <a:gd name="connsiteX1" fmla="*/ 306269 w 306268"/>
                <a:gd name="connsiteY1" fmla="*/ 0 h 306268"/>
                <a:gd name="connsiteX2" fmla="*/ 306269 w 306268"/>
                <a:gd name="connsiteY2" fmla="*/ 306269 h 306268"/>
                <a:gd name="connsiteX3" fmla="*/ 0 w 306268"/>
                <a:gd name="connsiteY3" fmla="*/ 306269 h 3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268" h="306268">
                  <a:moveTo>
                    <a:pt x="0" y="0"/>
                  </a:moveTo>
                  <a:lnTo>
                    <a:pt x="306269" y="0"/>
                  </a:lnTo>
                  <a:lnTo>
                    <a:pt x="306269" y="306269"/>
                  </a:lnTo>
                  <a:lnTo>
                    <a:pt x="0" y="306269"/>
                  </a:lnTo>
                  <a:close/>
                </a:path>
              </a:pathLst>
            </a:custGeom>
            <a:noFill/>
            <a:ln w="19050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119" name="Freeform: Shape 343">
              <a:extLst>
                <a:ext uri="{FF2B5EF4-FFF2-40B4-BE49-F238E27FC236}">
                  <a16:creationId xmlns:a16="http://schemas.microsoft.com/office/drawing/2014/main" id="{2A2513C8-10CE-476D-918B-CD6A0EA7EB4B}"/>
                </a:ext>
              </a:extLst>
            </p:cNvPr>
            <p:cNvSpPr/>
            <p:nvPr/>
          </p:nvSpPr>
          <p:spPr>
            <a:xfrm>
              <a:off x="6513726" y="2394676"/>
              <a:ext cx="247651" cy="228347"/>
            </a:xfrm>
            <a:custGeom>
              <a:avLst/>
              <a:gdLst>
                <a:gd name="connsiteX0" fmla="*/ 124925 w 185738"/>
                <a:gd name="connsiteY0" fmla="*/ 88003 h 171260"/>
                <a:gd name="connsiteX1" fmla="*/ 132659 w 185738"/>
                <a:gd name="connsiteY1" fmla="*/ 80228 h 171260"/>
                <a:gd name="connsiteX2" fmla="*/ 143656 w 185738"/>
                <a:gd name="connsiteY2" fmla="*/ 82847 h 171260"/>
                <a:gd name="connsiteX3" fmla="*/ 158065 w 185738"/>
                <a:gd name="connsiteY3" fmla="*/ 81631 h 171260"/>
                <a:gd name="connsiteX4" fmla="*/ 174599 w 185738"/>
                <a:gd name="connsiteY4" fmla="*/ 72684 h 171260"/>
                <a:gd name="connsiteX5" fmla="*/ 185444 w 185738"/>
                <a:gd name="connsiteY5" fmla="*/ 57175 h 171260"/>
                <a:gd name="connsiteX6" fmla="*/ 182939 w 185738"/>
                <a:gd name="connsiteY6" fmla="*/ 51486 h 171260"/>
                <a:gd name="connsiteX7" fmla="*/ 180209 w 185738"/>
                <a:gd name="connsiteY7" fmla="*/ 51295 h 171260"/>
                <a:gd name="connsiteX8" fmla="*/ 168378 w 185738"/>
                <a:gd name="connsiteY8" fmla="*/ 54439 h 171260"/>
                <a:gd name="connsiteX9" fmla="*/ 158822 w 185738"/>
                <a:gd name="connsiteY9" fmla="*/ 57021 h 171260"/>
                <a:gd name="connsiteX10" fmla="*/ 151848 w 185738"/>
                <a:gd name="connsiteY10" fmla="*/ 50005 h 171260"/>
                <a:gd name="connsiteX11" fmla="*/ 144793 w 185738"/>
                <a:gd name="connsiteY11" fmla="*/ 43027 h 171260"/>
                <a:gd name="connsiteX12" fmla="*/ 147371 w 185738"/>
                <a:gd name="connsiteY12" fmla="*/ 33432 h 171260"/>
                <a:gd name="connsiteX13" fmla="*/ 149950 w 185738"/>
                <a:gd name="connsiteY13" fmla="*/ 23876 h 171260"/>
                <a:gd name="connsiteX14" fmla="*/ 159506 w 185738"/>
                <a:gd name="connsiteY14" fmla="*/ 21298 h 171260"/>
                <a:gd name="connsiteX15" fmla="*/ 171263 w 185738"/>
                <a:gd name="connsiteY15" fmla="*/ 18155 h 171260"/>
                <a:gd name="connsiteX16" fmla="*/ 174391 w 185738"/>
                <a:gd name="connsiteY16" fmla="*/ 12854 h 171260"/>
                <a:gd name="connsiteX17" fmla="*/ 174390 w 185738"/>
                <a:gd name="connsiteY17" fmla="*/ 12851 h 171260"/>
                <a:gd name="connsiteX18" fmla="*/ 174369 w 185738"/>
                <a:gd name="connsiteY18" fmla="*/ 12770 h 171260"/>
                <a:gd name="connsiteX19" fmla="*/ 172855 w 185738"/>
                <a:gd name="connsiteY19" fmla="*/ 10421 h 171260"/>
                <a:gd name="connsiteX20" fmla="*/ 115621 w 185738"/>
                <a:gd name="connsiteY20" fmla="*/ 16973 h 171260"/>
                <a:gd name="connsiteX21" fmla="*/ 108166 w 185738"/>
                <a:gd name="connsiteY21" fmla="*/ 52850 h 171260"/>
                <a:gd name="connsiteX22" fmla="*/ 108239 w 185738"/>
                <a:gd name="connsiteY22" fmla="*/ 53231 h 171260"/>
                <a:gd name="connsiteX23" fmla="*/ 108317 w 185738"/>
                <a:gd name="connsiteY23" fmla="*/ 53343 h 171260"/>
                <a:gd name="connsiteX24" fmla="*/ 99217 w 185738"/>
                <a:gd name="connsiteY24" fmla="*/ 62366 h 171260"/>
                <a:gd name="connsiteX25" fmla="*/ 73127 w 185738"/>
                <a:gd name="connsiteY25" fmla="*/ 36243 h 171260"/>
                <a:gd name="connsiteX26" fmla="*/ 75173 w 185738"/>
                <a:gd name="connsiteY26" fmla="*/ 32147 h 171260"/>
                <a:gd name="connsiteX27" fmla="*/ 75328 w 185738"/>
                <a:gd name="connsiteY27" fmla="*/ 31882 h 171260"/>
                <a:gd name="connsiteX28" fmla="*/ 77677 w 185738"/>
                <a:gd name="connsiteY28" fmla="*/ 25247 h 171260"/>
                <a:gd name="connsiteX29" fmla="*/ 83517 w 185738"/>
                <a:gd name="connsiteY29" fmla="*/ 19558 h 171260"/>
                <a:gd name="connsiteX30" fmla="*/ 93756 w 185738"/>
                <a:gd name="connsiteY30" fmla="*/ 18307 h 171260"/>
                <a:gd name="connsiteX31" fmla="*/ 98675 w 185738"/>
                <a:gd name="connsiteY31" fmla="*/ 14540 h 171260"/>
                <a:gd name="connsiteX32" fmla="*/ 97321 w 185738"/>
                <a:gd name="connsiteY32" fmla="*/ 10760 h 171260"/>
                <a:gd name="connsiteX33" fmla="*/ 75704 w 185738"/>
                <a:gd name="connsiteY33" fmla="*/ 31 h 171260"/>
                <a:gd name="connsiteX34" fmla="*/ 54927 w 185738"/>
                <a:gd name="connsiteY34" fmla="*/ 7688 h 171260"/>
                <a:gd name="connsiteX35" fmla="*/ 50298 w 185738"/>
                <a:gd name="connsiteY35" fmla="*/ 9700 h 171260"/>
                <a:gd name="connsiteX36" fmla="*/ 47871 w 185738"/>
                <a:gd name="connsiteY36" fmla="*/ 10989 h 171260"/>
                <a:gd name="connsiteX37" fmla="*/ 45596 w 185738"/>
                <a:gd name="connsiteY37" fmla="*/ 8753 h 171260"/>
                <a:gd name="connsiteX38" fmla="*/ 45596 w 185738"/>
                <a:gd name="connsiteY38" fmla="*/ 8792 h 171260"/>
                <a:gd name="connsiteX39" fmla="*/ 39411 w 185738"/>
                <a:gd name="connsiteY39" fmla="*/ 8722 h 171260"/>
                <a:gd name="connsiteX40" fmla="*/ 39410 w 185738"/>
                <a:gd name="connsiteY40" fmla="*/ 8723 h 171260"/>
                <a:gd name="connsiteX41" fmla="*/ 39380 w 185738"/>
                <a:gd name="connsiteY41" fmla="*/ 8753 h 171260"/>
                <a:gd name="connsiteX42" fmla="*/ 19965 w 185738"/>
                <a:gd name="connsiteY42" fmla="*/ 28129 h 171260"/>
                <a:gd name="connsiteX43" fmla="*/ 19965 w 185738"/>
                <a:gd name="connsiteY43" fmla="*/ 34385 h 171260"/>
                <a:gd name="connsiteX44" fmla="*/ 22239 w 185738"/>
                <a:gd name="connsiteY44" fmla="*/ 36625 h 171260"/>
                <a:gd name="connsiteX45" fmla="*/ 21708 w 185738"/>
                <a:gd name="connsiteY45" fmla="*/ 37534 h 171260"/>
                <a:gd name="connsiteX46" fmla="*/ 21557 w 185738"/>
                <a:gd name="connsiteY46" fmla="*/ 37762 h 171260"/>
                <a:gd name="connsiteX47" fmla="*/ 20038 w 185738"/>
                <a:gd name="connsiteY47" fmla="*/ 40946 h 171260"/>
                <a:gd name="connsiteX48" fmla="*/ 18447 w 185738"/>
                <a:gd name="connsiteY48" fmla="*/ 41630 h 171260"/>
                <a:gd name="connsiteX49" fmla="*/ 14277 w 185738"/>
                <a:gd name="connsiteY49" fmla="*/ 41895 h 171260"/>
                <a:gd name="connsiteX50" fmla="*/ 10786 w 185738"/>
                <a:gd name="connsiteY50" fmla="*/ 43184 h 171260"/>
                <a:gd name="connsiteX51" fmla="*/ 1307 w 185738"/>
                <a:gd name="connsiteY51" fmla="*/ 52739 h 171260"/>
                <a:gd name="connsiteX52" fmla="*/ 1243 w 185738"/>
                <a:gd name="connsiteY52" fmla="*/ 58895 h 171260"/>
                <a:gd name="connsiteX53" fmla="*/ 1243 w 185738"/>
                <a:gd name="connsiteY53" fmla="*/ 58895 h 171260"/>
                <a:gd name="connsiteX54" fmla="*/ 1307 w 185738"/>
                <a:gd name="connsiteY54" fmla="*/ 58959 h 171260"/>
                <a:gd name="connsiteX55" fmla="*/ 12381 w 185738"/>
                <a:gd name="connsiteY55" fmla="*/ 70030 h 171260"/>
                <a:gd name="connsiteX56" fmla="*/ 12606 w 185738"/>
                <a:gd name="connsiteY56" fmla="*/ 70298 h 171260"/>
                <a:gd name="connsiteX57" fmla="*/ 12606 w 185738"/>
                <a:gd name="connsiteY57" fmla="*/ 70332 h 171260"/>
                <a:gd name="connsiteX58" fmla="*/ 12684 w 185738"/>
                <a:gd name="connsiteY58" fmla="*/ 70410 h 171260"/>
                <a:gd name="connsiteX59" fmla="*/ 12757 w 185738"/>
                <a:gd name="connsiteY59" fmla="*/ 70483 h 171260"/>
                <a:gd name="connsiteX60" fmla="*/ 12910 w 185738"/>
                <a:gd name="connsiteY60" fmla="*/ 70600 h 171260"/>
                <a:gd name="connsiteX61" fmla="*/ 12988 w 185738"/>
                <a:gd name="connsiteY61" fmla="*/ 70673 h 171260"/>
                <a:gd name="connsiteX62" fmla="*/ 13139 w 185738"/>
                <a:gd name="connsiteY62" fmla="*/ 70863 h 171260"/>
                <a:gd name="connsiteX63" fmla="*/ 13291 w 185738"/>
                <a:gd name="connsiteY63" fmla="*/ 70976 h 171260"/>
                <a:gd name="connsiteX64" fmla="*/ 24589 w 185738"/>
                <a:gd name="connsiteY64" fmla="*/ 82275 h 171260"/>
                <a:gd name="connsiteX65" fmla="*/ 30860 w 185738"/>
                <a:gd name="connsiteY65" fmla="*/ 82299 h 171260"/>
                <a:gd name="connsiteX66" fmla="*/ 30885 w 185738"/>
                <a:gd name="connsiteY66" fmla="*/ 82275 h 171260"/>
                <a:gd name="connsiteX67" fmla="*/ 40367 w 185738"/>
                <a:gd name="connsiteY67" fmla="*/ 72758 h 171260"/>
                <a:gd name="connsiteX68" fmla="*/ 40367 w 185738"/>
                <a:gd name="connsiteY68" fmla="*/ 72758 h 171260"/>
                <a:gd name="connsiteX69" fmla="*/ 41656 w 185738"/>
                <a:gd name="connsiteY69" fmla="*/ 69310 h 171260"/>
                <a:gd name="connsiteX70" fmla="*/ 42032 w 185738"/>
                <a:gd name="connsiteY70" fmla="*/ 65970 h 171260"/>
                <a:gd name="connsiteX71" fmla="*/ 42945 w 185738"/>
                <a:gd name="connsiteY71" fmla="*/ 64188 h 171260"/>
                <a:gd name="connsiteX72" fmla="*/ 46279 w 185738"/>
                <a:gd name="connsiteY72" fmla="*/ 62558 h 171260"/>
                <a:gd name="connsiteX73" fmla="*/ 47495 w 185738"/>
                <a:gd name="connsiteY73" fmla="*/ 61880 h 171260"/>
                <a:gd name="connsiteX74" fmla="*/ 73579 w 185738"/>
                <a:gd name="connsiteY74" fmla="*/ 88043 h 171260"/>
                <a:gd name="connsiteX75" fmla="*/ 18829 w 185738"/>
                <a:gd name="connsiteY75" fmla="*/ 142791 h 171260"/>
                <a:gd name="connsiteX76" fmla="*/ 18829 w 185738"/>
                <a:gd name="connsiteY76" fmla="*/ 149049 h 171260"/>
                <a:gd name="connsiteX77" fmla="*/ 38243 w 185738"/>
                <a:gd name="connsiteY77" fmla="*/ 168425 h 171260"/>
                <a:gd name="connsiteX78" fmla="*/ 44391 w 185738"/>
                <a:gd name="connsiteY78" fmla="*/ 168494 h 171260"/>
                <a:gd name="connsiteX79" fmla="*/ 44393 w 185738"/>
                <a:gd name="connsiteY79" fmla="*/ 168492 h 171260"/>
                <a:gd name="connsiteX80" fmla="*/ 44460 w 185738"/>
                <a:gd name="connsiteY80" fmla="*/ 168425 h 171260"/>
                <a:gd name="connsiteX81" fmla="*/ 99218 w 185738"/>
                <a:gd name="connsiteY81" fmla="*/ 113669 h 171260"/>
                <a:gd name="connsiteX82" fmla="*/ 155567 w 185738"/>
                <a:gd name="connsiteY82" fmla="*/ 169979 h 171260"/>
                <a:gd name="connsiteX83" fmla="*/ 161784 w 185738"/>
                <a:gd name="connsiteY83" fmla="*/ 169979 h 171260"/>
                <a:gd name="connsiteX84" fmla="*/ 181198 w 185738"/>
                <a:gd name="connsiteY84" fmla="*/ 150564 h 171260"/>
                <a:gd name="connsiteX85" fmla="*/ 181239 w 185738"/>
                <a:gd name="connsiteY85" fmla="*/ 144350 h 171260"/>
                <a:gd name="connsiteX86" fmla="*/ 181203 w 185738"/>
                <a:gd name="connsiteY86" fmla="*/ 144315 h 171260"/>
                <a:gd name="connsiteX87" fmla="*/ 124931 w 185738"/>
                <a:gd name="connsiteY87" fmla="*/ 88005 h 171260"/>
                <a:gd name="connsiteX88" fmla="*/ 51282 w 185738"/>
                <a:gd name="connsiteY88" fmla="*/ 53191 h 171260"/>
                <a:gd name="connsiteX89" fmla="*/ 51282 w 185738"/>
                <a:gd name="connsiteY89" fmla="*/ 53191 h 171260"/>
                <a:gd name="connsiteX90" fmla="*/ 45442 w 185738"/>
                <a:gd name="connsiteY90" fmla="*/ 52810 h 171260"/>
                <a:gd name="connsiteX91" fmla="*/ 42109 w 185738"/>
                <a:gd name="connsiteY91" fmla="*/ 54778 h 171260"/>
                <a:gd name="connsiteX92" fmla="*/ 42109 w 185738"/>
                <a:gd name="connsiteY92" fmla="*/ 54778 h 171260"/>
                <a:gd name="connsiteX93" fmla="*/ 38544 w 185738"/>
                <a:gd name="connsiteY93" fmla="*/ 56447 h 171260"/>
                <a:gd name="connsiteX94" fmla="*/ 36723 w 185738"/>
                <a:gd name="connsiteY94" fmla="*/ 57850 h 171260"/>
                <a:gd name="connsiteX95" fmla="*/ 33690 w 185738"/>
                <a:gd name="connsiteY95" fmla="*/ 63045 h 171260"/>
                <a:gd name="connsiteX96" fmla="*/ 33690 w 185738"/>
                <a:gd name="connsiteY96" fmla="*/ 63045 h 171260"/>
                <a:gd name="connsiteX97" fmla="*/ 32778 w 185738"/>
                <a:gd name="connsiteY97" fmla="*/ 67865 h 171260"/>
                <a:gd name="connsiteX98" fmla="*/ 27699 w 185738"/>
                <a:gd name="connsiteY98" fmla="*/ 72905 h 171260"/>
                <a:gd name="connsiteX99" fmla="*/ 19508 w 185738"/>
                <a:gd name="connsiteY99" fmla="*/ 64713 h 171260"/>
                <a:gd name="connsiteX100" fmla="*/ 19430 w 185738"/>
                <a:gd name="connsiteY100" fmla="*/ 64601 h 171260"/>
                <a:gd name="connsiteX101" fmla="*/ 19201 w 185738"/>
                <a:gd name="connsiteY101" fmla="*/ 64449 h 171260"/>
                <a:gd name="connsiteX102" fmla="*/ 19201 w 185738"/>
                <a:gd name="connsiteY102" fmla="*/ 64409 h 171260"/>
                <a:gd name="connsiteX103" fmla="*/ 19128 w 185738"/>
                <a:gd name="connsiteY103" fmla="*/ 64331 h 171260"/>
                <a:gd name="connsiteX104" fmla="*/ 19050 w 185738"/>
                <a:gd name="connsiteY104" fmla="*/ 64219 h 171260"/>
                <a:gd name="connsiteX105" fmla="*/ 19050 w 185738"/>
                <a:gd name="connsiteY105" fmla="*/ 64180 h 171260"/>
                <a:gd name="connsiteX106" fmla="*/ 18976 w 185738"/>
                <a:gd name="connsiteY106" fmla="*/ 64141 h 171260"/>
                <a:gd name="connsiteX107" fmla="*/ 18976 w 185738"/>
                <a:gd name="connsiteY107" fmla="*/ 64141 h 171260"/>
                <a:gd name="connsiteX108" fmla="*/ 18824 w 185738"/>
                <a:gd name="connsiteY108" fmla="*/ 64028 h 171260"/>
                <a:gd name="connsiteX109" fmla="*/ 18595 w 185738"/>
                <a:gd name="connsiteY109" fmla="*/ 63803 h 171260"/>
                <a:gd name="connsiteX110" fmla="*/ 10631 w 185738"/>
                <a:gd name="connsiteY110" fmla="*/ 55802 h 171260"/>
                <a:gd name="connsiteX111" fmla="*/ 15714 w 185738"/>
                <a:gd name="connsiteY111" fmla="*/ 50796 h 171260"/>
                <a:gd name="connsiteX112" fmla="*/ 20719 w 185738"/>
                <a:gd name="connsiteY112" fmla="*/ 50151 h 171260"/>
                <a:gd name="connsiteX113" fmla="*/ 26711 w 185738"/>
                <a:gd name="connsiteY113" fmla="*/ 46852 h 171260"/>
                <a:gd name="connsiteX114" fmla="*/ 27771 w 185738"/>
                <a:gd name="connsiteY114" fmla="*/ 45186 h 171260"/>
                <a:gd name="connsiteX115" fmla="*/ 29367 w 185738"/>
                <a:gd name="connsiteY115" fmla="*/ 41924 h 171260"/>
                <a:gd name="connsiteX116" fmla="*/ 29440 w 185738"/>
                <a:gd name="connsiteY116" fmla="*/ 41733 h 171260"/>
                <a:gd name="connsiteX117" fmla="*/ 31487 w 185738"/>
                <a:gd name="connsiteY117" fmla="*/ 38359 h 171260"/>
                <a:gd name="connsiteX118" fmla="*/ 30729 w 185738"/>
                <a:gd name="connsiteY118" fmla="*/ 32633 h 171260"/>
                <a:gd name="connsiteX119" fmla="*/ 29367 w 185738"/>
                <a:gd name="connsiteY119" fmla="*/ 31270 h 171260"/>
                <a:gd name="connsiteX120" fmla="*/ 42483 w 185738"/>
                <a:gd name="connsiteY120" fmla="*/ 18111 h 171260"/>
                <a:gd name="connsiteX121" fmla="*/ 44079 w 185738"/>
                <a:gd name="connsiteY121" fmla="*/ 19703 h 171260"/>
                <a:gd name="connsiteX122" fmla="*/ 49690 w 185738"/>
                <a:gd name="connsiteY122" fmla="*/ 20234 h 171260"/>
                <a:gd name="connsiteX123" fmla="*/ 54240 w 185738"/>
                <a:gd name="connsiteY123" fmla="*/ 17543 h 171260"/>
                <a:gd name="connsiteX124" fmla="*/ 54240 w 185738"/>
                <a:gd name="connsiteY124" fmla="*/ 17543 h 171260"/>
                <a:gd name="connsiteX125" fmla="*/ 58640 w 185738"/>
                <a:gd name="connsiteY125" fmla="*/ 15684 h 171260"/>
                <a:gd name="connsiteX126" fmla="*/ 60154 w 185738"/>
                <a:gd name="connsiteY126" fmla="*/ 14776 h 171260"/>
                <a:gd name="connsiteX127" fmla="*/ 82074 w 185738"/>
                <a:gd name="connsiteY127" fmla="*/ 10640 h 171260"/>
                <a:gd name="connsiteX128" fmla="*/ 79798 w 185738"/>
                <a:gd name="connsiteY128" fmla="*/ 11552 h 171260"/>
                <a:gd name="connsiteX129" fmla="*/ 79798 w 185738"/>
                <a:gd name="connsiteY129" fmla="*/ 11552 h 171260"/>
                <a:gd name="connsiteX130" fmla="*/ 69636 w 185738"/>
                <a:gd name="connsiteY130" fmla="*/ 21597 h 171260"/>
                <a:gd name="connsiteX131" fmla="*/ 69178 w 185738"/>
                <a:gd name="connsiteY131" fmla="*/ 22735 h 171260"/>
                <a:gd name="connsiteX132" fmla="*/ 69178 w 185738"/>
                <a:gd name="connsiteY132" fmla="*/ 22735 h 171260"/>
                <a:gd name="connsiteX133" fmla="*/ 67282 w 185738"/>
                <a:gd name="connsiteY133" fmla="*/ 28310 h 171260"/>
                <a:gd name="connsiteX134" fmla="*/ 67209 w 185738"/>
                <a:gd name="connsiteY134" fmla="*/ 28500 h 171260"/>
                <a:gd name="connsiteX135" fmla="*/ 63871 w 185738"/>
                <a:gd name="connsiteY135" fmla="*/ 34491 h 171260"/>
                <a:gd name="connsiteX136" fmla="*/ 64402 w 185738"/>
                <a:gd name="connsiteY136" fmla="*/ 40028 h 171260"/>
                <a:gd name="connsiteX137" fmla="*/ 92992 w 185738"/>
                <a:gd name="connsiteY137" fmla="*/ 68618 h 171260"/>
                <a:gd name="connsiteX138" fmla="*/ 79873 w 185738"/>
                <a:gd name="connsiteY138" fmla="*/ 81774 h 171260"/>
                <a:gd name="connsiteX139" fmla="*/ 51282 w 185738"/>
                <a:gd name="connsiteY139" fmla="*/ 53190 h 171260"/>
                <a:gd name="connsiteX140" fmla="*/ 41350 w 185738"/>
                <a:gd name="connsiteY140" fmla="*/ 159063 h 171260"/>
                <a:gd name="connsiteX141" fmla="*/ 41350 w 185738"/>
                <a:gd name="connsiteY141" fmla="*/ 159063 h 171260"/>
                <a:gd name="connsiteX142" fmla="*/ 28232 w 185738"/>
                <a:gd name="connsiteY142" fmla="*/ 145904 h 171260"/>
                <a:gd name="connsiteX143" fmla="*/ 82984 w 185738"/>
                <a:gd name="connsiteY143" fmla="*/ 91151 h 171260"/>
                <a:gd name="connsiteX144" fmla="*/ 116433 w 185738"/>
                <a:gd name="connsiteY144" fmla="*/ 57704 h 171260"/>
                <a:gd name="connsiteX145" fmla="*/ 117497 w 185738"/>
                <a:gd name="connsiteY145" fmla="*/ 53154 h 171260"/>
                <a:gd name="connsiteX146" fmla="*/ 117043 w 185738"/>
                <a:gd name="connsiteY146" fmla="*/ 51830 h 171260"/>
                <a:gd name="connsiteX147" fmla="*/ 116740 w 185738"/>
                <a:gd name="connsiteY147" fmla="*/ 50727 h 171260"/>
                <a:gd name="connsiteX148" fmla="*/ 116662 w 185738"/>
                <a:gd name="connsiteY148" fmla="*/ 50536 h 171260"/>
                <a:gd name="connsiteX149" fmla="*/ 139398 w 185738"/>
                <a:gd name="connsiteY149" fmla="*/ 11441 h 171260"/>
                <a:gd name="connsiteX150" fmla="*/ 153973 w 185738"/>
                <a:gd name="connsiteY150" fmla="*/ 11024 h 171260"/>
                <a:gd name="connsiteX151" fmla="*/ 158675 w 185738"/>
                <a:gd name="connsiteY151" fmla="*/ 12386 h 171260"/>
                <a:gd name="connsiteX152" fmla="*/ 157234 w 185738"/>
                <a:gd name="connsiteY152" fmla="*/ 12767 h 171260"/>
                <a:gd name="connsiteX153" fmla="*/ 145178 w 185738"/>
                <a:gd name="connsiteY153" fmla="*/ 15951 h 171260"/>
                <a:gd name="connsiteX154" fmla="*/ 142068 w 185738"/>
                <a:gd name="connsiteY154" fmla="*/ 19099 h 171260"/>
                <a:gd name="connsiteX155" fmla="*/ 135622 w 185738"/>
                <a:gd name="connsiteY155" fmla="*/ 43178 h 171260"/>
                <a:gd name="connsiteX156" fmla="*/ 136765 w 185738"/>
                <a:gd name="connsiteY156" fmla="*/ 47426 h 171260"/>
                <a:gd name="connsiteX157" fmla="*/ 145560 w 185738"/>
                <a:gd name="connsiteY157" fmla="*/ 56259 h 171260"/>
                <a:gd name="connsiteX158" fmla="*/ 145560 w 185738"/>
                <a:gd name="connsiteY158" fmla="*/ 56259 h 171260"/>
                <a:gd name="connsiteX159" fmla="*/ 154208 w 185738"/>
                <a:gd name="connsiteY159" fmla="*/ 64867 h 171260"/>
                <a:gd name="connsiteX160" fmla="*/ 158684 w 185738"/>
                <a:gd name="connsiteY160" fmla="*/ 66234 h 171260"/>
                <a:gd name="connsiteX161" fmla="*/ 170667 w 185738"/>
                <a:gd name="connsiteY161" fmla="*/ 62972 h 171260"/>
                <a:gd name="connsiteX162" fmla="*/ 172108 w 185738"/>
                <a:gd name="connsiteY162" fmla="*/ 62591 h 171260"/>
                <a:gd name="connsiteX163" fmla="*/ 168774 w 185738"/>
                <a:gd name="connsiteY163" fmla="*/ 66115 h 171260"/>
                <a:gd name="connsiteX164" fmla="*/ 133888 w 185738"/>
                <a:gd name="connsiteY164" fmla="*/ 71120 h 171260"/>
                <a:gd name="connsiteX165" fmla="*/ 128576 w 185738"/>
                <a:gd name="connsiteY165" fmla="*/ 71842 h 171260"/>
                <a:gd name="connsiteX166" fmla="*/ 41365 w 185738"/>
                <a:gd name="connsiteY166" fmla="*/ 159056 h 171260"/>
                <a:gd name="connsiteX167" fmla="*/ 158668 w 185738"/>
                <a:gd name="connsiteY167" fmla="*/ 160617 h 171260"/>
                <a:gd name="connsiteX168" fmla="*/ 158668 w 185738"/>
                <a:gd name="connsiteY168" fmla="*/ 160617 h 171260"/>
                <a:gd name="connsiteX169" fmla="*/ 105507 w 185738"/>
                <a:gd name="connsiteY169" fmla="*/ 107417 h 171260"/>
                <a:gd name="connsiteX170" fmla="*/ 118628 w 185738"/>
                <a:gd name="connsiteY170" fmla="*/ 94258 h 171260"/>
                <a:gd name="connsiteX171" fmla="*/ 171789 w 185738"/>
                <a:gd name="connsiteY171" fmla="*/ 147463 h 171260"/>
                <a:gd name="connsiteX172" fmla="*/ 158668 w 185738"/>
                <a:gd name="connsiteY172" fmla="*/ 160618 h 171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</a:cxnLst>
              <a:rect l="l" t="t" r="r" b="b"/>
              <a:pathLst>
                <a:path w="185738" h="171260">
                  <a:moveTo>
                    <a:pt x="124925" y="88003"/>
                  </a:moveTo>
                  <a:lnTo>
                    <a:pt x="132659" y="80228"/>
                  </a:lnTo>
                  <a:cubicBezTo>
                    <a:pt x="136183" y="81616"/>
                    <a:pt x="139885" y="82497"/>
                    <a:pt x="143656" y="82847"/>
                  </a:cubicBezTo>
                  <a:cubicBezTo>
                    <a:pt x="148493" y="83285"/>
                    <a:pt x="153370" y="82873"/>
                    <a:pt x="158065" y="81631"/>
                  </a:cubicBezTo>
                  <a:cubicBezTo>
                    <a:pt x="164204" y="79993"/>
                    <a:pt x="169870" y="76927"/>
                    <a:pt x="174599" y="72684"/>
                  </a:cubicBezTo>
                  <a:cubicBezTo>
                    <a:pt x="179370" y="68427"/>
                    <a:pt x="183083" y="63117"/>
                    <a:pt x="185444" y="57175"/>
                  </a:cubicBezTo>
                  <a:cubicBezTo>
                    <a:pt x="186313" y="54913"/>
                    <a:pt x="185194" y="52373"/>
                    <a:pt x="182939" y="51486"/>
                  </a:cubicBezTo>
                  <a:cubicBezTo>
                    <a:pt x="182075" y="51123"/>
                    <a:pt x="181115" y="51056"/>
                    <a:pt x="180209" y="51295"/>
                  </a:cubicBezTo>
                  <a:lnTo>
                    <a:pt x="168378" y="54439"/>
                  </a:lnTo>
                  <a:lnTo>
                    <a:pt x="158822" y="57021"/>
                  </a:lnTo>
                  <a:lnTo>
                    <a:pt x="151848" y="50005"/>
                  </a:lnTo>
                  <a:lnTo>
                    <a:pt x="144793" y="43027"/>
                  </a:lnTo>
                  <a:lnTo>
                    <a:pt x="147371" y="33432"/>
                  </a:lnTo>
                  <a:lnTo>
                    <a:pt x="149950" y="23876"/>
                  </a:lnTo>
                  <a:lnTo>
                    <a:pt x="159506" y="21298"/>
                  </a:lnTo>
                  <a:lnTo>
                    <a:pt x="171263" y="18155"/>
                  </a:lnTo>
                  <a:cubicBezTo>
                    <a:pt x="173590" y="17555"/>
                    <a:pt x="174991" y="15182"/>
                    <a:pt x="174391" y="12854"/>
                  </a:cubicBezTo>
                  <a:cubicBezTo>
                    <a:pt x="174390" y="12853"/>
                    <a:pt x="174390" y="12852"/>
                    <a:pt x="174390" y="12851"/>
                  </a:cubicBezTo>
                  <a:lnTo>
                    <a:pt x="174369" y="12770"/>
                  </a:lnTo>
                  <a:cubicBezTo>
                    <a:pt x="174164" y="11830"/>
                    <a:pt x="173626" y="10995"/>
                    <a:pt x="172855" y="10421"/>
                  </a:cubicBezTo>
                  <a:cubicBezTo>
                    <a:pt x="155241" y="-3574"/>
                    <a:pt x="129616" y="-641"/>
                    <a:pt x="115621" y="16973"/>
                  </a:cubicBezTo>
                  <a:cubicBezTo>
                    <a:pt x="107594" y="27076"/>
                    <a:pt x="104828" y="40385"/>
                    <a:pt x="108166" y="52850"/>
                  </a:cubicBezTo>
                  <a:lnTo>
                    <a:pt x="108239" y="53231"/>
                  </a:lnTo>
                  <a:lnTo>
                    <a:pt x="108317" y="53343"/>
                  </a:lnTo>
                  <a:lnTo>
                    <a:pt x="99217" y="62366"/>
                  </a:lnTo>
                  <a:lnTo>
                    <a:pt x="73127" y="36243"/>
                  </a:lnTo>
                  <a:cubicBezTo>
                    <a:pt x="73884" y="34876"/>
                    <a:pt x="74566" y="33511"/>
                    <a:pt x="75173" y="32147"/>
                  </a:cubicBezTo>
                  <a:lnTo>
                    <a:pt x="75328" y="31882"/>
                  </a:lnTo>
                  <a:cubicBezTo>
                    <a:pt x="76327" y="29753"/>
                    <a:pt x="77113" y="27531"/>
                    <a:pt x="77677" y="25247"/>
                  </a:cubicBezTo>
                  <a:cubicBezTo>
                    <a:pt x="78981" y="22787"/>
                    <a:pt x="81023" y="20797"/>
                    <a:pt x="83517" y="19558"/>
                  </a:cubicBezTo>
                  <a:cubicBezTo>
                    <a:pt x="86763" y="18259"/>
                    <a:pt x="90292" y="17828"/>
                    <a:pt x="93756" y="18307"/>
                  </a:cubicBezTo>
                  <a:cubicBezTo>
                    <a:pt x="96155" y="18625"/>
                    <a:pt x="98357" y="16938"/>
                    <a:pt x="98675" y="14540"/>
                  </a:cubicBezTo>
                  <a:cubicBezTo>
                    <a:pt x="98862" y="13135"/>
                    <a:pt x="98357" y="11726"/>
                    <a:pt x="97321" y="10760"/>
                  </a:cubicBezTo>
                  <a:cubicBezTo>
                    <a:pt x="91623" y="4723"/>
                    <a:pt x="83958" y="919"/>
                    <a:pt x="75704" y="31"/>
                  </a:cubicBezTo>
                  <a:cubicBezTo>
                    <a:pt x="68029" y="-326"/>
                    <a:pt x="60535" y="2436"/>
                    <a:pt x="54927" y="7688"/>
                  </a:cubicBezTo>
                  <a:cubicBezTo>
                    <a:pt x="53338" y="8247"/>
                    <a:pt x="51791" y="8919"/>
                    <a:pt x="50298" y="9700"/>
                  </a:cubicBezTo>
                  <a:cubicBezTo>
                    <a:pt x="49463" y="10116"/>
                    <a:pt x="48707" y="10535"/>
                    <a:pt x="47871" y="10989"/>
                  </a:cubicBezTo>
                  <a:lnTo>
                    <a:pt x="45596" y="8753"/>
                  </a:lnTo>
                  <a:lnTo>
                    <a:pt x="45596" y="8792"/>
                  </a:lnTo>
                  <a:cubicBezTo>
                    <a:pt x="43907" y="7065"/>
                    <a:pt x="41138" y="7033"/>
                    <a:pt x="39411" y="8722"/>
                  </a:cubicBezTo>
                  <a:cubicBezTo>
                    <a:pt x="39410" y="8723"/>
                    <a:pt x="39410" y="8723"/>
                    <a:pt x="39410" y="8723"/>
                  </a:cubicBezTo>
                  <a:lnTo>
                    <a:pt x="39380" y="8753"/>
                  </a:lnTo>
                  <a:lnTo>
                    <a:pt x="19965" y="28129"/>
                  </a:lnTo>
                  <a:cubicBezTo>
                    <a:pt x="18295" y="29880"/>
                    <a:pt x="18295" y="32633"/>
                    <a:pt x="19965" y="34385"/>
                  </a:cubicBezTo>
                  <a:lnTo>
                    <a:pt x="22239" y="36625"/>
                  </a:lnTo>
                  <a:lnTo>
                    <a:pt x="21708" y="37534"/>
                  </a:lnTo>
                  <a:lnTo>
                    <a:pt x="21557" y="37762"/>
                  </a:lnTo>
                  <a:cubicBezTo>
                    <a:pt x="21025" y="38784"/>
                    <a:pt x="20494" y="39882"/>
                    <a:pt x="20038" y="40946"/>
                  </a:cubicBezTo>
                  <a:cubicBezTo>
                    <a:pt x="19551" y="41264"/>
                    <a:pt x="19013" y="41496"/>
                    <a:pt x="18447" y="41630"/>
                  </a:cubicBezTo>
                  <a:cubicBezTo>
                    <a:pt x="17082" y="41959"/>
                    <a:pt x="15672" y="42049"/>
                    <a:pt x="14277" y="41895"/>
                  </a:cubicBezTo>
                  <a:cubicBezTo>
                    <a:pt x="12980" y="41787"/>
                    <a:pt x="11701" y="42259"/>
                    <a:pt x="10786" y="43184"/>
                  </a:cubicBezTo>
                  <a:lnTo>
                    <a:pt x="1307" y="52739"/>
                  </a:lnTo>
                  <a:cubicBezTo>
                    <a:pt x="-410" y="54421"/>
                    <a:pt x="-439" y="57177"/>
                    <a:pt x="1243" y="58895"/>
                  </a:cubicBezTo>
                  <a:cubicBezTo>
                    <a:pt x="1243" y="58895"/>
                    <a:pt x="1243" y="58895"/>
                    <a:pt x="1243" y="58895"/>
                  </a:cubicBezTo>
                  <a:lnTo>
                    <a:pt x="1307" y="58959"/>
                  </a:lnTo>
                  <a:lnTo>
                    <a:pt x="12381" y="70030"/>
                  </a:lnTo>
                  <a:lnTo>
                    <a:pt x="12606" y="70298"/>
                  </a:lnTo>
                  <a:lnTo>
                    <a:pt x="12606" y="70332"/>
                  </a:lnTo>
                  <a:lnTo>
                    <a:pt x="12684" y="70410"/>
                  </a:lnTo>
                  <a:lnTo>
                    <a:pt x="12757" y="70483"/>
                  </a:lnTo>
                  <a:lnTo>
                    <a:pt x="12910" y="70600"/>
                  </a:lnTo>
                  <a:lnTo>
                    <a:pt x="12988" y="70673"/>
                  </a:lnTo>
                  <a:lnTo>
                    <a:pt x="13139" y="70863"/>
                  </a:lnTo>
                  <a:lnTo>
                    <a:pt x="13291" y="70976"/>
                  </a:lnTo>
                  <a:lnTo>
                    <a:pt x="24589" y="82275"/>
                  </a:lnTo>
                  <a:cubicBezTo>
                    <a:pt x="26314" y="84013"/>
                    <a:pt x="29122" y="84024"/>
                    <a:pt x="30860" y="82299"/>
                  </a:cubicBezTo>
                  <a:lnTo>
                    <a:pt x="30885" y="82275"/>
                  </a:lnTo>
                  <a:lnTo>
                    <a:pt x="40367" y="72758"/>
                  </a:lnTo>
                  <a:lnTo>
                    <a:pt x="40367" y="72758"/>
                  </a:lnTo>
                  <a:cubicBezTo>
                    <a:pt x="41250" y="71833"/>
                    <a:pt x="41716" y="70587"/>
                    <a:pt x="41656" y="69310"/>
                  </a:cubicBezTo>
                  <a:cubicBezTo>
                    <a:pt x="41533" y="68183"/>
                    <a:pt x="41662" y="67042"/>
                    <a:pt x="42032" y="65970"/>
                  </a:cubicBezTo>
                  <a:cubicBezTo>
                    <a:pt x="42229" y="65327"/>
                    <a:pt x="42538" y="64724"/>
                    <a:pt x="42945" y="64188"/>
                  </a:cubicBezTo>
                  <a:cubicBezTo>
                    <a:pt x="44082" y="63696"/>
                    <a:pt x="45143" y="63167"/>
                    <a:pt x="46279" y="62558"/>
                  </a:cubicBezTo>
                  <a:lnTo>
                    <a:pt x="47495" y="61880"/>
                  </a:lnTo>
                  <a:lnTo>
                    <a:pt x="73579" y="88043"/>
                  </a:lnTo>
                  <a:lnTo>
                    <a:pt x="18829" y="142791"/>
                  </a:lnTo>
                  <a:cubicBezTo>
                    <a:pt x="17159" y="144543"/>
                    <a:pt x="17159" y="147297"/>
                    <a:pt x="18829" y="149049"/>
                  </a:cubicBezTo>
                  <a:lnTo>
                    <a:pt x="38243" y="168425"/>
                  </a:lnTo>
                  <a:cubicBezTo>
                    <a:pt x="39922" y="170142"/>
                    <a:pt x="42675" y="170172"/>
                    <a:pt x="44391" y="168494"/>
                  </a:cubicBezTo>
                  <a:cubicBezTo>
                    <a:pt x="44392" y="168493"/>
                    <a:pt x="44392" y="168492"/>
                    <a:pt x="44393" y="168492"/>
                  </a:cubicBezTo>
                  <a:lnTo>
                    <a:pt x="44460" y="168425"/>
                  </a:lnTo>
                  <a:lnTo>
                    <a:pt x="99218" y="113669"/>
                  </a:lnTo>
                  <a:lnTo>
                    <a:pt x="155567" y="169979"/>
                  </a:lnTo>
                  <a:cubicBezTo>
                    <a:pt x="157287" y="171687"/>
                    <a:pt x="160064" y="171687"/>
                    <a:pt x="161784" y="169979"/>
                  </a:cubicBezTo>
                  <a:lnTo>
                    <a:pt x="181198" y="150564"/>
                  </a:lnTo>
                  <a:cubicBezTo>
                    <a:pt x="182925" y="148859"/>
                    <a:pt x="182944" y="146077"/>
                    <a:pt x="181239" y="144350"/>
                  </a:cubicBezTo>
                  <a:lnTo>
                    <a:pt x="181203" y="144315"/>
                  </a:lnTo>
                  <a:lnTo>
                    <a:pt x="124931" y="88005"/>
                  </a:lnTo>
                  <a:close/>
                  <a:moveTo>
                    <a:pt x="51282" y="53191"/>
                  </a:moveTo>
                  <a:lnTo>
                    <a:pt x="51282" y="53191"/>
                  </a:lnTo>
                  <a:cubicBezTo>
                    <a:pt x="49713" y="51604"/>
                    <a:pt x="47205" y="51440"/>
                    <a:pt x="45442" y="52810"/>
                  </a:cubicBezTo>
                  <a:cubicBezTo>
                    <a:pt x="44305" y="53528"/>
                    <a:pt x="43244" y="54172"/>
                    <a:pt x="42109" y="54778"/>
                  </a:cubicBezTo>
                  <a:lnTo>
                    <a:pt x="42109" y="54778"/>
                  </a:lnTo>
                  <a:cubicBezTo>
                    <a:pt x="40951" y="55397"/>
                    <a:pt x="39761" y="55954"/>
                    <a:pt x="38544" y="56447"/>
                  </a:cubicBezTo>
                  <a:cubicBezTo>
                    <a:pt x="37827" y="56751"/>
                    <a:pt x="37200" y="57234"/>
                    <a:pt x="36723" y="57850"/>
                  </a:cubicBezTo>
                  <a:cubicBezTo>
                    <a:pt x="35404" y="59382"/>
                    <a:pt x="34376" y="61143"/>
                    <a:pt x="33690" y="63045"/>
                  </a:cubicBezTo>
                  <a:lnTo>
                    <a:pt x="33690" y="63045"/>
                  </a:lnTo>
                  <a:cubicBezTo>
                    <a:pt x="33144" y="64596"/>
                    <a:pt x="32836" y="66221"/>
                    <a:pt x="32778" y="67865"/>
                  </a:cubicBezTo>
                  <a:lnTo>
                    <a:pt x="27699" y="72905"/>
                  </a:lnTo>
                  <a:lnTo>
                    <a:pt x="19508" y="64713"/>
                  </a:lnTo>
                  <a:lnTo>
                    <a:pt x="19430" y="64601"/>
                  </a:lnTo>
                  <a:lnTo>
                    <a:pt x="19201" y="64449"/>
                  </a:lnTo>
                  <a:lnTo>
                    <a:pt x="19201" y="64409"/>
                  </a:lnTo>
                  <a:lnTo>
                    <a:pt x="19128" y="64331"/>
                  </a:lnTo>
                  <a:lnTo>
                    <a:pt x="19050" y="64219"/>
                  </a:lnTo>
                  <a:lnTo>
                    <a:pt x="19050" y="64180"/>
                  </a:lnTo>
                  <a:lnTo>
                    <a:pt x="18976" y="64141"/>
                  </a:lnTo>
                  <a:lnTo>
                    <a:pt x="18976" y="64141"/>
                  </a:lnTo>
                  <a:lnTo>
                    <a:pt x="18824" y="64028"/>
                  </a:lnTo>
                  <a:lnTo>
                    <a:pt x="18595" y="63803"/>
                  </a:lnTo>
                  <a:lnTo>
                    <a:pt x="10631" y="55802"/>
                  </a:lnTo>
                  <a:lnTo>
                    <a:pt x="15714" y="50796"/>
                  </a:lnTo>
                  <a:cubicBezTo>
                    <a:pt x="17404" y="50806"/>
                    <a:pt x="19087" y="50589"/>
                    <a:pt x="20719" y="50151"/>
                  </a:cubicBezTo>
                  <a:cubicBezTo>
                    <a:pt x="22959" y="49564"/>
                    <a:pt x="25017" y="48430"/>
                    <a:pt x="26711" y="46852"/>
                  </a:cubicBezTo>
                  <a:cubicBezTo>
                    <a:pt x="27168" y="46370"/>
                    <a:pt x="27527" y="45804"/>
                    <a:pt x="27771" y="45186"/>
                  </a:cubicBezTo>
                  <a:cubicBezTo>
                    <a:pt x="28230" y="44160"/>
                    <a:pt x="28756" y="43062"/>
                    <a:pt x="29367" y="41924"/>
                  </a:cubicBezTo>
                  <a:lnTo>
                    <a:pt x="29440" y="41733"/>
                  </a:lnTo>
                  <a:cubicBezTo>
                    <a:pt x="30046" y="40708"/>
                    <a:pt x="30729" y="39571"/>
                    <a:pt x="31487" y="38359"/>
                  </a:cubicBezTo>
                  <a:cubicBezTo>
                    <a:pt x="32675" y="36524"/>
                    <a:pt x="32354" y="34097"/>
                    <a:pt x="30729" y="32633"/>
                  </a:cubicBezTo>
                  <a:lnTo>
                    <a:pt x="29367" y="31270"/>
                  </a:lnTo>
                  <a:lnTo>
                    <a:pt x="42483" y="18111"/>
                  </a:lnTo>
                  <a:lnTo>
                    <a:pt x="44079" y="19703"/>
                  </a:lnTo>
                  <a:cubicBezTo>
                    <a:pt x="45589" y="21183"/>
                    <a:pt x="47929" y="21405"/>
                    <a:pt x="49690" y="20234"/>
                  </a:cubicBezTo>
                  <a:cubicBezTo>
                    <a:pt x="51149" y="19243"/>
                    <a:pt x="52668" y="18345"/>
                    <a:pt x="54240" y="17543"/>
                  </a:cubicBezTo>
                  <a:lnTo>
                    <a:pt x="54240" y="17543"/>
                  </a:lnTo>
                  <a:cubicBezTo>
                    <a:pt x="55670" y="16840"/>
                    <a:pt x="57139" y="16220"/>
                    <a:pt x="58640" y="15684"/>
                  </a:cubicBezTo>
                  <a:cubicBezTo>
                    <a:pt x="59215" y="15520"/>
                    <a:pt x="59738" y="15206"/>
                    <a:pt x="60154" y="14776"/>
                  </a:cubicBezTo>
                  <a:cubicBezTo>
                    <a:pt x="65798" y="8803"/>
                    <a:pt x="74641" y="7135"/>
                    <a:pt x="82074" y="10640"/>
                  </a:cubicBezTo>
                  <a:cubicBezTo>
                    <a:pt x="81312" y="10908"/>
                    <a:pt x="80553" y="11212"/>
                    <a:pt x="79798" y="11552"/>
                  </a:cubicBezTo>
                  <a:lnTo>
                    <a:pt x="79798" y="11552"/>
                  </a:lnTo>
                  <a:cubicBezTo>
                    <a:pt x="75389" y="13679"/>
                    <a:pt x="71813" y="17213"/>
                    <a:pt x="69636" y="21597"/>
                  </a:cubicBezTo>
                  <a:cubicBezTo>
                    <a:pt x="69413" y="21944"/>
                    <a:pt x="69258" y="22330"/>
                    <a:pt x="69178" y="22735"/>
                  </a:cubicBezTo>
                  <a:lnTo>
                    <a:pt x="69178" y="22735"/>
                  </a:lnTo>
                  <a:cubicBezTo>
                    <a:pt x="68707" y="24644"/>
                    <a:pt x="68073" y="26509"/>
                    <a:pt x="67282" y="28310"/>
                  </a:cubicBezTo>
                  <a:lnTo>
                    <a:pt x="67209" y="28500"/>
                  </a:lnTo>
                  <a:cubicBezTo>
                    <a:pt x="66216" y="30562"/>
                    <a:pt x="65101" y="32562"/>
                    <a:pt x="63871" y="34491"/>
                  </a:cubicBezTo>
                  <a:cubicBezTo>
                    <a:pt x="62696" y="36225"/>
                    <a:pt x="62920" y="38549"/>
                    <a:pt x="64402" y="40028"/>
                  </a:cubicBezTo>
                  <a:lnTo>
                    <a:pt x="92992" y="68618"/>
                  </a:lnTo>
                  <a:lnTo>
                    <a:pt x="79873" y="81774"/>
                  </a:lnTo>
                  <a:lnTo>
                    <a:pt x="51282" y="53190"/>
                  </a:lnTo>
                  <a:close/>
                  <a:moveTo>
                    <a:pt x="41350" y="159063"/>
                  </a:moveTo>
                  <a:lnTo>
                    <a:pt x="41350" y="159063"/>
                  </a:lnTo>
                  <a:lnTo>
                    <a:pt x="28232" y="145904"/>
                  </a:lnTo>
                  <a:lnTo>
                    <a:pt x="82984" y="91151"/>
                  </a:lnTo>
                  <a:lnTo>
                    <a:pt x="116433" y="57704"/>
                  </a:lnTo>
                  <a:cubicBezTo>
                    <a:pt x="117603" y="56501"/>
                    <a:pt x="118012" y="54750"/>
                    <a:pt x="117497" y="53154"/>
                  </a:cubicBezTo>
                  <a:lnTo>
                    <a:pt x="117043" y="51830"/>
                  </a:lnTo>
                  <a:lnTo>
                    <a:pt x="116740" y="50727"/>
                  </a:lnTo>
                  <a:lnTo>
                    <a:pt x="116662" y="50536"/>
                  </a:lnTo>
                  <a:cubicBezTo>
                    <a:pt x="112144" y="33462"/>
                    <a:pt x="122324" y="15959"/>
                    <a:pt x="139398" y="11441"/>
                  </a:cubicBezTo>
                  <a:cubicBezTo>
                    <a:pt x="144159" y="10182"/>
                    <a:pt x="149147" y="10039"/>
                    <a:pt x="153973" y="11024"/>
                  </a:cubicBezTo>
                  <a:cubicBezTo>
                    <a:pt x="155572" y="11362"/>
                    <a:pt x="157143" y="11817"/>
                    <a:pt x="158675" y="12386"/>
                  </a:cubicBezTo>
                  <a:lnTo>
                    <a:pt x="157234" y="12767"/>
                  </a:lnTo>
                  <a:lnTo>
                    <a:pt x="145178" y="15951"/>
                  </a:lnTo>
                  <a:cubicBezTo>
                    <a:pt x="143675" y="16406"/>
                    <a:pt x="142505" y="17591"/>
                    <a:pt x="142068" y="19099"/>
                  </a:cubicBezTo>
                  <a:lnTo>
                    <a:pt x="135622" y="43178"/>
                  </a:lnTo>
                  <a:cubicBezTo>
                    <a:pt x="135230" y="44697"/>
                    <a:pt x="135664" y="46310"/>
                    <a:pt x="136765" y="47426"/>
                  </a:cubicBezTo>
                  <a:lnTo>
                    <a:pt x="145560" y="56259"/>
                  </a:lnTo>
                  <a:lnTo>
                    <a:pt x="145560" y="56259"/>
                  </a:lnTo>
                  <a:lnTo>
                    <a:pt x="154208" y="64867"/>
                  </a:lnTo>
                  <a:cubicBezTo>
                    <a:pt x="155330" y="66120"/>
                    <a:pt x="157054" y="66646"/>
                    <a:pt x="158684" y="66234"/>
                  </a:cubicBezTo>
                  <a:lnTo>
                    <a:pt x="170667" y="62972"/>
                  </a:lnTo>
                  <a:lnTo>
                    <a:pt x="172108" y="62591"/>
                  </a:lnTo>
                  <a:cubicBezTo>
                    <a:pt x="171096" y="63856"/>
                    <a:pt x="169981" y="65035"/>
                    <a:pt x="168774" y="66115"/>
                  </a:cubicBezTo>
                  <a:cubicBezTo>
                    <a:pt x="159196" y="74616"/>
                    <a:pt x="145470" y="76585"/>
                    <a:pt x="133888" y="71120"/>
                  </a:cubicBezTo>
                  <a:cubicBezTo>
                    <a:pt x="132155" y="70146"/>
                    <a:pt x="129986" y="70441"/>
                    <a:pt x="128576" y="71842"/>
                  </a:cubicBezTo>
                  <a:lnTo>
                    <a:pt x="41365" y="159056"/>
                  </a:lnTo>
                  <a:close/>
                  <a:moveTo>
                    <a:pt x="158668" y="160617"/>
                  </a:moveTo>
                  <a:lnTo>
                    <a:pt x="158668" y="160617"/>
                  </a:lnTo>
                  <a:lnTo>
                    <a:pt x="105507" y="107417"/>
                  </a:lnTo>
                  <a:lnTo>
                    <a:pt x="118628" y="94258"/>
                  </a:lnTo>
                  <a:lnTo>
                    <a:pt x="171789" y="147463"/>
                  </a:lnTo>
                  <a:lnTo>
                    <a:pt x="158668" y="160618"/>
                  </a:lnTo>
                  <a:close/>
                </a:path>
              </a:pathLst>
            </a:custGeom>
            <a:solidFill>
              <a:srgbClr val="BFBFB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</p:grpSp>
      <p:grpSp>
        <p:nvGrpSpPr>
          <p:cNvPr id="107" name="Gruppieren 106"/>
          <p:cNvGrpSpPr/>
          <p:nvPr/>
        </p:nvGrpSpPr>
        <p:grpSpPr>
          <a:xfrm>
            <a:off x="3303987" y="3984941"/>
            <a:ext cx="648000" cy="648000"/>
            <a:chOff x="3305267" y="3986221"/>
            <a:chExt cx="648000" cy="648000"/>
          </a:xfrm>
        </p:grpSpPr>
        <p:sp>
          <p:nvSpPr>
            <p:cNvPr id="114" name="Freeform: Shape 362">
              <a:extLst>
                <a:ext uri="{FF2B5EF4-FFF2-40B4-BE49-F238E27FC236}">
                  <a16:creationId xmlns:a16="http://schemas.microsoft.com/office/drawing/2014/main" id="{8F56B91A-DDDB-487F-A88B-C6471DA18B9C}"/>
                </a:ext>
              </a:extLst>
            </p:cNvPr>
            <p:cNvSpPr/>
            <p:nvPr/>
          </p:nvSpPr>
          <p:spPr>
            <a:xfrm>
              <a:off x="3305267" y="3986221"/>
              <a:ext cx="648000" cy="648000"/>
            </a:xfrm>
            <a:custGeom>
              <a:avLst/>
              <a:gdLst>
                <a:gd name="connsiteX0" fmla="*/ 0 w 306268"/>
                <a:gd name="connsiteY0" fmla="*/ 0 h 306268"/>
                <a:gd name="connsiteX1" fmla="*/ 306269 w 306268"/>
                <a:gd name="connsiteY1" fmla="*/ 0 h 306268"/>
                <a:gd name="connsiteX2" fmla="*/ 306269 w 306268"/>
                <a:gd name="connsiteY2" fmla="*/ 306269 h 306268"/>
                <a:gd name="connsiteX3" fmla="*/ 0 w 306268"/>
                <a:gd name="connsiteY3" fmla="*/ 306269 h 3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268" h="306268">
                  <a:moveTo>
                    <a:pt x="0" y="0"/>
                  </a:moveTo>
                  <a:lnTo>
                    <a:pt x="306269" y="0"/>
                  </a:lnTo>
                  <a:lnTo>
                    <a:pt x="306269" y="306269"/>
                  </a:lnTo>
                  <a:lnTo>
                    <a:pt x="0" y="306269"/>
                  </a:lnTo>
                  <a:close/>
                </a:path>
              </a:pathLst>
            </a:custGeom>
            <a:noFill/>
            <a:ln w="19050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cxnSp>
          <p:nvCxnSpPr>
            <p:cNvPr id="115" name="Gerader Verbinder 114"/>
            <p:cNvCxnSpPr>
              <a:stCxn id="117" idx="2"/>
              <a:endCxn id="121" idx="0"/>
            </p:cNvCxnSpPr>
            <p:nvPr/>
          </p:nvCxnSpPr>
          <p:spPr>
            <a:xfrm>
              <a:off x="3626187" y="4312419"/>
              <a:ext cx="0" cy="47419"/>
            </a:xfrm>
            <a:prstGeom prst="line">
              <a:avLst/>
            </a:prstGeom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Abgerundetes Rechteck 116"/>
            <p:cNvSpPr/>
            <p:nvPr/>
          </p:nvSpPr>
          <p:spPr>
            <a:xfrm>
              <a:off x="3511755" y="4131081"/>
              <a:ext cx="228863" cy="181338"/>
            </a:xfrm>
            <a:prstGeom prst="roundRect">
              <a:avLst/>
            </a:prstGeom>
            <a:noFill/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noFill/>
              </a:endParaRPr>
            </a:p>
          </p:txBody>
        </p:sp>
        <p:cxnSp>
          <p:nvCxnSpPr>
            <p:cNvPr id="120" name="Gerader Verbinder 119"/>
            <p:cNvCxnSpPr>
              <a:stCxn id="117" idx="0"/>
            </p:cNvCxnSpPr>
            <p:nvPr/>
          </p:nvCxnSpPr>
          <p:spPr>
            <a:xfrm flipH="1" flipV="1">
              <a:off x="3626186" y="4036254"/>
              <a:ext cx="1" cy="94827"/>
            </a:xfrm>
            <a:prstGeom prst="line">
              <a:avLst/>
            </a:prstGeom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21" name="Abgerundetes Rechteck 120"/>
            <p:cNvSpPr/>
            <p:nvPr/>
          </p:nvSpPr>
          <p:spPr>
            <a:xfrm>
              <a:off x="3511755" y="4359838"/>
              <a:ext cx="228863" cy="181338"/>
            </a:xfrm>
            <a:prstGeom prst="roundRect">
              <a:avLst/>
            </a:prstGeom>
            <a:noFill/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noFill/>
              </a:endParaRPr>
            </a:p>
          </p:txBody>
        </p:sp>
        <p:sp>
          <p:nvSpPr>
            <p:cNvPr id="122" name="Ellipse 121"/>
            <p:cNvSpPr/>
            <p:nvPr/>
          </p:nvSpPr>
          <p:spPr>
            <a:xfrm>
              <a:off x="3656758" y="4183200"/>
              <a:ext cx="32982" cy="33512"/>
            </a:xfrm>
            <a:prstGeom prst="ellipse">
              <a:avLst/>
            </a:prstGeom>
            <a:noFill/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3" name="Ellipse 122"/>
            <p:cNvSpPr/>
            <p:nvPr/>
          </p:nvSpPr>
          <p:spPr>
            <a:xfrm>
              <a:off x="3563536" y="4183200"/>
              <a:ext cx="32982" cy="33512"/>
            </a:xfrm>
            <a:prstGeom prst="ellipse">
              <a:avLst/>
            </a:prstGeom>
            <a:noFill/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4" name="Abgerundetes Rechteck 123"/>
            <p:cNvSpPr/>
            <p:nvPr/>
          </p:nvSpPr>
          <p:spPr>
            <a:xfrm>
              <a:off x="3551824" y="4404950"/>
              <a:ext cx="148724" cy="53828"/>
            </a:xfrm>
            <a:prstGeom prst="roundRect">
              <a:avLst/>
            </a:prstGeom>
            <a:noFill/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noFill/>
              </a:endParaRPr>
            </a:p>
          </p:txBody>
        </p:sp>
      </p:grpSp>
      <p:grpSp>
        <p:nvGrpSpPr>
          <p:cNvPr id="133" name="Gruppieren 132"/>
          <p:cNvGrpSpPr>
            <a:grpSpLocks/>
          </p:cNvGrpSpPr>
          <p:nvPr/>
        </p:nvGrpSpPr>
        <p:grpSpPr>
          <a:xfrm>
            <a:off x="1322510" y="3975676"/>
            <a:ext cx="648000" cy="990000"/>
            <a:chOff x="9654747" y="2277839"/>
            <a:chExt cx="936000" cy="1402854"/>
          </a:xfrm>
        </p:grpSpPr>
        <p:sp>
          <p:nvSpPr>
            <p:cNvPr id="134" name="Freeform: Shape 380">
              <a:extLst>
                <a:ext uri="{FF2B5EF4-FFF2-40B4-BE49-F238E27FC236}">
                  <a16:creationId xmlns:a16="http://schemas.microsoft.com/office/drawing/2014/main" id="{832FD4CD-81B1-424E-9309-E03B59C22A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54747" y="2277839"/>
              <a:ext cx="936000" cy="936000"/>
            </a:xfrm>
            <a:custGeom>
              <a:avLst/>
              <a:gdLst>
                <a:gd name="connsiteX0" fmla="*/ 0 w 306268"/>
                <a:gd name="connsiteY0" fmla="*/ 0 h 306268"/>
                <a:gd name="connsiteX1" fmla="*/ 306269 w 306268"/>
                <a:gd name="connsiteY1" fmla="*/ 0 h 306268"/>
                <a:gd name="connsiteX2" fmla="*/ 306269 w 306268"/>
                <a:gd name="connsiteY2" fmla="*/ 306269 h 306268"/>
                <a:gd name="connsiteX3" fmla="*/ 0 w 306268"/>
                <a:gd name="connsiteY3" fmla="*/ 306269 h 3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268" h="306268">
                  <a:moveTo>
                    <a:pt x="0" y="0"/>
                  </a:moveTo>
                  <a:lnTo>
                    <a:pt x="306269" y="0"/>
                  </a:lnTo>
                  <a:lnTo>
                    <a:pt x="306269" y="306269"/>
                  </a:lnTo>
                  <a:lnTo>
                    <a:pt x="0" y="306269"/>
                  </a:lnTo>
                  <a:close/>
                </a:path>
              </a:pathLst>
            </a:custGeom>
            <a:solidFill>
              <a:schemeClr val="bg1"/>
            </a:solidFill>
            <a:ln w="19050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135" name="Ellipse 134"/>
            <p:cNvSpPr/>
            <p:nvPr/>
          </p:nvSpPr>
          <p:spPr>
            <a:xfrm>
              <a:off x="10020332" y="2436084"/>
              <a:ext cx="217133" cy="268841"/>
            </a:xfrm>
            <a:prstGeom prst="ellipse">
              <a:avLst/>
            </a:prstGeom>
            <a:noFill/>
            <a:ln w="25400">
              <a:solidFill>
                <a:srgbClr val="BFBFBF"/>
              </a:solidFill>
            </a:ln>
          </p:spPr>
          <p:txBody>
            <a:bodyPr wrap="square" rtlCol="0" anchor="ctr">
              <a:spAutoFit/>
            </a:bodyPr>
            <a:lstStyle/>
            <a:p>
              <a:pPr algn="l">
                <a:lnSpc>
                  <a:spcPct val="120000"/>
                </a:lnSpc>
                <a:buSzPct val="90000"/>
              </a:pPr>
              <a:endParaRPr lang="de-DE" sz="1600" b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grpSp>
          <p:nvGrpSpPr>
            <p:cNvPr id="136" name="Gruppieren 135"/>
            <p:cNvGrpSpPr/>
            <p:nvPr/>
          </p:nvGrpSpPr>
          <p:grpSpPr>
            <a:xfrm>
              <a:off x="9849227" y="2749755"/>
              <a:ext cx="557445" cy="930938"/>
              <a:chOff x="10628639" y="1971954"/>
              <a:chExt cx="1004541" cy="1159251"/>
            </a:xfrm>
          </p:grpSpPr>
          <p:cxnSp>
            <p:nvCxnSpPr>
              <p:cNvPr id="137" name="Gerader Verbinder 136"/>
              <p:cNvCxnSpPr/>
              <p:nvPr/>
            </p:nvCxnSpPr>
            <p:spPr>
              <a:xfrm>
                <a:off x="10927377" y="1976571"/>
                <a:ext cx="197763" cy="207899"/>
              </a:xfrm>
              <a:prstGeom prst="line">
                <a:avLst/>
              </a:prstGeom>
              <a:ln w="19050">
                <a:solidFill>
                  <a:srgbClr val="BFBFBF"/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138" name="Gerader Verbinder 137"/>
              <p:cNvCxnSpPr/>
              <p:nvPr/>
            </p:nvCxnSpPr>
            <p:spPr>
              <a:xfrm flipH="1">
                <a:off x="11121534" y="1974842"/>
                <a:ext cx="206728" cy="209628"/>
              </a:xfrm>
              <a:prstGeom prst="line">
                <a:avLst/>
              </a:prstGeom>
              <a:ln w="19050">
                <a:solidFill>
                  <a:srgbClr val="BFBFBF"/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139" name="Bogen 138"/>
              <p:cNvSpPr/>
              <p:nvPr/>
            </p:nvSpPr>
            <p:spPr>
              <a:xfrm>
                <a:off x="11023344" y="1971954"/>
                <a:ext cx="609836" cy="1159251"/>
              </a:xfrm>
              <a:prstGeom prst="arc">
                <a:avLst/>
              </a:prstGeom>
              <a:ln w="19050">
                <a:solidFill>
                  <a:srgbClr val="BFBF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41" name="Bogen 140"/>
              <p:cNvSpPr/>
              <p:nvPr/>
            </p:nvSpPr>
            <p:spPr>
              <a:xfrm flipH="1">
                <a:off x="10628639" y="1971954"/>
                <a:ext cx="586760" cy="1159251"/>
              </a:xfrm>
              <a:prstGeom prst="arc">
                <a:avLst/>
              </a:prstGeom>
              <a:ln w="19050">
                <a:solidFill>
                  <a:srgbClr val="BFBF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143" name="Gerader Verbinder 142"/>
              <p:cNvCxnSpPr>
                <a:stCxn id="141" idx="0"/>
                <a:endCxn id="139" idx="0"/>
              </p:cNvCxnSpPr>
              <p:nvPr/>
            </p:nvCxnSpPr>
            <p:spPr>
              <a:xfrm>
                <a:off x="10922019" y="1971954"/>
                <a:ext cx="406243" cy="0"/>
              </a:xfrm>
              <a:prstGeom prst="line">
                <a:avLst/>
              </a:prstGeom>
              <a:ln w="19050">
                <a:solidFill>
                  <a:srgbClr val="BFBF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45" name="Textfeld 144"/>
          <p:cNvSpPr txBox="1"/>
          <p:nvPr/>
        </p:nvSpPr>
        <p:spPr>
          <a:xfrm>
            <a:off x="1440375" y="3632912"/>
            <a:ext cx="650972" cy="2708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de-DE" sz="1600" dirty="0">
                <a:solidFill>
                  <a:schemeClr val="accent3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User</a:t>
            </a:r>
          </a:p>
        </p:txBody>
      </p:sp>
      <p:sp>
        <p:nvSpPr>
          <p:cNvPr id="153" name="Textfeld 152"/>
          <p:cNvSpPr txBox="1"/>
          <p:nvPr/>
        </p:nvSpPr>
        <p:spPr>
          <a:xfrm>
            <a:off x="3084568" y="3652320"/>
            <a:ext cx="1155729" cy="2468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de-DE" sz="1600" dirty="0">
                <a:solidFill>
                  <a:schemeClr val="accent3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AI-</a:t>
            </a:r>
            <a:r>
              <a:rPr lang="de-DE" sz="1600" dirty="0" err="1">
                <a:solidFill>
                  <a:schemeClr val="accent3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Assistant</a:t>
            </a:r>
            <a:endParaRPr lang="de-DE" sz="1600" dirty="0">
              <a:solidFill>
                <a:schemeClr val="accent3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4" name="Textfeld 153"/>
          <p:cNvSpPr txBox="1"/>
          <p:nvPr/>
        </p:nvSpPr>
        <p:spPr>
          <a:xfrm>
            <a:off x="4263643" y="2881172"/>
            <a:ext cx="1155729" cy="517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de-DE" sz="1600" dirty="0">
                <a:solidFill>
                  <a:schemeClr val="accent3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Reads </a:t>
            </a:r>
            <a:r>
              <a:rPr lang="de-DE" sz="1600" dirty="0" err="1">
                <a:solidFill>
                  <a:schemeClr val="accent3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manuals</a:t>
            </a:r>
            <a:endParaRPr lang="de-DE" sz="1600" dirty="0">
              <a:solidFill>
                <a:schemeClr val="accent3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5" name="Textfeld 154"/>
          <p:cNvSpPr txBox="1"/>
          <p:nvPr/>
        </p:nvSpPr>
        <p:spPr>
          <a:xfrm>
            <a:off x="7033707" y="2355146"/>
            <a:ext cx="1143830" cy="517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de-DE" sz="1600" dirty="0">
                <a:solidFill>
                  <a:schemeClr val="accent3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Resources/</a:t>
            </a:r>
          </a:p>
          <a:p>
            <a:pPr algn="l">
              <a:lnSpc>
                <a:spcPct val="110000"/>
              </a:lnSpc>
            </a:pPr>
            <a:r>
              <a:rPr lang="de-DE" sz="1600" dirty="0">
                <a:solidFill>
                  <a:schemeClr val="accent3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Tools</a:t>
            </a:r>
          </a:p>
        </p:txBody>
      </p:sp>
      <p:sp>
        <p:nvSpPr>
          <p:cNvPr id="156" name="Textfeld 155"/>
          <p:cNvSpPr txBox="1"/>
          <p:nvPr/>
        </p:nvSpPr>
        <p:spPr>
          <a:xfrm>
            <a:off x="8623863" y="2360142"/>
            <a:ext cx="837766" cy="2468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de-DE" sz="1600" dirty="0" err="1">
                <a:solidFill>
                  <a:schemeClr val="accent3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Experts</a:t>
            </a:r>
            <a:endParaRPr lang="de-DE" sz="1600" dirty="0">
              <a:solidFill>
                <a:schemeClr val="accent3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7" name="Textfeld 156"/>
          <p:cNvSpPr txBox="1"/>
          <p:nvPr/>
        </p:nvSpPr>
        <p:spPr>
          <a:xfrm>
            <a:off x="1126774" y="5075360"/>
            <a:ext cx="3695036" cy="10833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de-DE" sz="1600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nowledge </a:t>
            </a: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f</a:t>
            </a:r>
            <a:r>
              <a:rPr lang="de-DE" sz="1600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</a:t>
            </a:r>
            <a:r>
              <a:rPr lang="de-DE" sz="1600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usiness</a:t>
            </a:r>
            <a:r>
              <a:rPr lang="de-DE" sz="1600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nit</a:t>
            </a:r>
            <a:r>
              <a:rPr lang="de-DE" sz="1600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s</a:t>
            </a:r>
            <a:r>
              <a:rPr lang="de-DE" sz="1600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vailable</a:t>
            </a:r>
            <a:r>
              <a:rPr lang="de-DE" sz="1600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o</a:t>
            </a:r>
            <a:r>
              <a:rPr lang="de-DE" sz="1600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</a:t>
            </a:r>
            <a:r>
              <a:rPr lang="de-DE" sz="1600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usiness</a:t>
            </a:r>
            <a:r>
              <a:rPr lang="de-DE" sz="1600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nit</a:t>
            </a:r>
            <a:endParaRPr lang="de-DE" sz="1600" dirty="0">
              <a:solidFill>
                <a:schemeClr val="accent3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algn="l"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de-DE" sz="1600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ynamic, modular, extensible on </a:t>
            </a:r>
            <a:r>
              <a:rPr lang="de-DE" sz="1600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mand</a:t>
            </a:r>
            <a:endParaRPr lang="de-DE" sz="1600" dirty="0">
              <a:solidFill>
                <a:schemeClr val="accent3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1F719152-6459-B2B3-1B7F-31E59F282AC8}"/>
              </a:ext>
            </a:extLst>
          </p:cNvPr>
          <p:cNvGrpSpPr/>
          <p:nvPr/>
        </p:nvGrpSpPr>
        <p:grpSpPr>
          <a:xfrm>
            <a:off x="6777534" y="5323354"/>
            <a:ext cx="648000" cy="781448"/>
            <a:chOff x="10085866" y="4761862"/>
            <a:chExt cx="648000" cy="781448"/>
          </a:xfrm>
        </p:grpSpPr>
        <p:sp>
          <p:nvSpPr>
            <p:cNvPr id="19" name="Text Placeholder 9">
              <a:extLst>
                <a:ext uri="{FF2B5EF4-FFF2-40B4-BE49-F238E27FC236}">
                  <a16:creationId xmlns:a16="http://schemas.microsoft.com/office/drawing/2014/main" id="{AE8687D6-DB87-63F3-C34B-12F500AC98B4}"/>
                </a:ext>
              </a:extLst>
            </p:cNvPr>
            <p:cNvSpPr txBox="1">
              <a:spLocks/>
            </p:cNvSpPr>
            <p:nvPr/>
          </p:nvSpPr>
          <p:spPr>
            <a:xfrm>
              <a:off x="10085866" y="4895310"/>
              <a:ext cx="648000" cy="648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75000"/>
                </a:schemeClr>
              </a:solidFill>
            </a:ln>
          </p:spPr>
          <p:txBody>
            <a:bodyPr lIns="0" tIns="0" rIns="0" bIns="0" anchor="ctr"/>
            <a:lstStyle>
              <a:lvl1pPr marL="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Tx/>
                <a:buNone/>
                <a:defRPr sz="1200" kern="1200" spc="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DE" sz="1800" dirty="0">
                <a:latin typeface="Lato" panose="020F0502020204030203" pitchFamily="34" charset="0"/>
              </a:endParaRPr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9E105171-38FC-B200-6079-B5218BFF2A7A}"/>
                </a:ext>
              </a:extLst>
            </p:cNvPr>
            <p:cNvSpPr txBox="1"/>
            <p:nvPr/>
          </p:nvSpPr>
          <p:spPr>
            <a:xfrm>
              <a:off x="10209477" y="4761862"/>
              <a:ext cx="489558" cy="6402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</a:pPr>
              <a:r>
                <a:rPr lang="de-DE" sz="4000" dirty="0">
                  <a:solidFill>
                    <a:srgbClr val="BFBFBF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.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110724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Bogen 84"/>
          <p:cNvSpPr/>
          <p:nvPr/>
        </p:nvSpPr>
        <p:spPr>
          <a:xfrm>
            <a:off x="4081965" y="3129158"/>
            <a:ext cx="2230137" cy="2056921"/>
          </a:xfrm>
          <a:prstGeom prst="arc">
            <a:avLst>
              <a:gd name="adj1" fmla="val 21420294"/>
              <a:gd name="adj2" fmla="val 10854159"/>
            </a:avLst>
          </a:prstGeom>
          <a:ln w="69850">
            <a:solidFill>
              <a:srgbClr val="B4E3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6" name="Bogen 85"/>
          <p:cNvSpPr/>
          <p:nvPr/>
        </p:nvSpPr>
        <p:spPr>
          <a:xfrm>
            <a:off x="4083944" y="2917374"/>
            <a:ext cx="2230137" cy="2056921"/>
          </a:xfrm>
          <a:prstGeom prst="arc">
            <a:avLst>
              <a:gd name="adj1" fmla="val 10735902"/>
              <a:gd name="adj2" fmla="val 0"/>
            </a:avLst>
          </a:prstGeom>
          <a:ln w="69850">
            <a:solidFill>
              <a:srgbClr val="EFCD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7" name="Isosceles Triangle 194">
            <a:extLst>
              <a:ext uri="{FF2B5EF4-FFF2-40B4-BE49-F238E27FC236}">
                <a16:creationId xmlns:a16="http://schemas.microsoft.com/office/drawing/2014/main" id="{91167B38-C4D7-41E8-83C3-AF1170B9BB85}"/>
              </a:ext>
            </a:extLst>
          </p:cNvPr>
          <p:cNvSpPr/>
          <p:nvPr/>
        </p:nvSpPr>
        <p:spPr>
          <a:xfrm rot="14254972">
            <a:off x="5701848" y="4746037"/>
            <a:ext cx="446662" cy="331679"/>
          </a:xfrm>
          <a:prstGeom prst="triangle">
            <a:avLst/>
          </a:prstGeom>
          <a:solidFill>
            <a:srgbClr val="B4E33D"/>
          </a:solidFill>
          <a:ln w="28575" cap="flat" cmpd="sng" algn="ctr">
            <a:solidFill>
              <a:srgbClr val="B4E33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097289">
              <a:defRPr/>
            </a:pPr>
            <a:endParaRPr lang="de-DE" sz="1200" kern="0" dirty="0">
              <a:latin typeface="Lato" panose="020F0502020204030203" pitchFamily="34" charset="0"/>
            </a:endParaRPr>
          </a:p>
        </p:txBody>
      </p:sp>
      <p:sp>
        <p:nvSpPr>
          <p:cNvPr id="89" name="Isosceles Triangle 195">
            <a:extLst>
              <a:ext uri="{FF2B5EF4-FFF2-40B4-BE49-F238E27FC236}">
                <a16:creationId xmlns:a16="http://schemas.microsoft.com/office/drawing/2014/main" id="{F2A23DB2-1804-4DDC-B3E2-12B0EAB1C172}"/>
              </a:ext>
            </a:extLst>
          </p:cNvPr>
          <p:cNvSpPr/>
          <p:nvPr/>
        </p:nvSpPr>
        <p:spPr>
          <a:xfrm rot="3454972">
            <a:off x="4532513" y="2824388"/>
            <a:ext cx="446662" cy="331679"/>
          </a:xfrm>
          <a:prstGeom prst="triangle">
            <a:avLst/>
          </a:prstGeom>
          <a:solidFill>
            <a:srgbClr val="EFCDBF"/>
          </a:solidFill>
          <a:ln w="28575" cap="flat" cmpd="sng" algn="ctr">
            <a:solidFill>
              <a:srgbClr val="EFCDB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097289">
              <a:defRPr/>
            </a:pPr>
            <a:endParaRPr lang="de-DE" sz="1200" kern="0" dirty="0">
              <a:latin typeface="Lato" panose="020F0502020204030203" pitchFamily="34" charset="0"/>
            </a:endParaRPr>
          </a:p>
        </p:txBody>
      </p:sp>
      <p:sp>
        <p:nvSpPr>
          <p:cNvPr id="75" name="Bogen 74"/>
          <p:cNvSpPr/>
          <p:nvPr/>
        </p:nvSpPr>
        <p:spPr>
          <a:xfrm>
            <a:off x="1589054" y="3138693"/>
            <a:ext cx="2230137" cy="2056921"/>
          </a:xfrm>
          <a:prstGeom prst="arc">
            <a:avLst>
              <a:gd name="adj1" fmla="val 21420294"/>
              <a:gd name="adj2" fmla="val 10854159"/>
            </a:avLst>
          </a:prstGeom>
          <a:ln w="69850">
            <a:solidFill>
              <a:srgbClr val="E5E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2" name="Bogen 81"/>
          <p:cNvSpPr/>
          <p:nvPr/>
        </p:nvSpPr>
        <p:spPr>
          <a:xfrm>
            <a:off x="1591033" y="2926909"/>
            <a:ext cx="2230137" cy="2056921"/>
          </a:xfrm>
          <a:prstGeom prst="arc">
            <a:avLst>
              <a:gd name="adj1" fmla="val 10735902"/>
              <a:gd name="adj2" fmla="val 0"/>
            </a:avLst>
          </a:prstGeom>
          <a:ln w="69850">
            <a:solidFill>
              <a:srgbClr val="C3F1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3" name="Isosceles Triangle 194">
            <a:extLst>
              <a:ext uri="{FF2B5EF4-FFF2-40B4-BE49-F238E27FC236}">
                <a16:creationId xmlns:a16="http://schemas.microsoft.com/office/drawing/2014/main" id="{91167B38-C4D7-41E8-83C3-AF1170B9BB85}"/>
              </a:ext>
            </a:extLst>
          </p:cNvPr>
          <p:cNvSpPr/>
          <p:nvPr/>
        </p:nvSpPr>
        <p:spPr>
          <a:xfrm rot="14254972">
            <a:off x="3208937" y="4755572"/>
            <a:ext cx="446662" cy="331679"/>
          </a:xfrm>
          <a:prstGeom prst="triangle">
            <a:avLst/>
          </a:prstGeom>
          <a:solidFill>
            <a:srgbClr val="E5E5E5"/>
          </a:solidFill>
          <a:ln w="28575" cap="flat" cmpd="sng" algn="ctr">
            <a:solidFill>
              <a:srgbClr val="E5E5E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097289">
              <a:defRPr/>
            </a:pPr>
            <a:endParaRPr lang="de-DE" sz="1200" kern="0" dirty="0">
              <a:latin typeface="Lato" panose="020F0502020204030203" pitchFamily="34" charset="0"/>
            </a:endParaRPr>
          </a:p>
        </p:txBody>
      </p:sp>
      <p:sp>
        <p:nvSpPr>
          <p:cNvPr id="84" name="Isosceles Triangle 195">
            <a:extLst>
              <a:ext uri="{FF2B5EF4-FFF2-40B4-BE49-F238E27FC236}">
                <a16:creationId xmlns:a16="http://schemas.microsoft.com/office/drawing/2014/main" id="{F2A23DB2-1804-4DDC-B3E2-12B0EAB1C172}"/>
              </a:ext>
            </a:extLst>
          </p:cNvPr>
          <p:cNvSpPr/>
          <p:nvPr/>
        </p:nvSpPr>
        <p:spPr>
          <a:xfrm rot="3454972">
            <a:off x="2039602" y="2833923"/>
            <a:ext cx="446662" cy="331679"/>
          </a:xfrm>
          <a:prstGeom prst="triangle">
            <a:avLst/>
          </a:prstGeom>
          <a:solidFill>
            <a:srgbClr val="C3F1FF"/>
          </a:solidFill>
          <a:ln w="28575" cap="flat" cmpd="sng" algn="ctr">
            <a:solidFill>
              <a:srgbClr val="C3F1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097289">
              <a:defRPr/>
            </a:pPr>
            <a:endParaRPr lang="de-DE" sz="1200" kern="0" dirty="0">
              <a:latin typeface="Lato" panose="020F05020202040302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ING WITH A TOOL ASSISTAN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 CONVERSATION BETWEEN THREE PARTNE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741833" y="1383941"/>
            <a:ext cx="10936378" cy="276999"/>
          </a:xfrm>
        </p:spPr>
        <p:txBody>
          <a:bodyPr/>
          <a:lstStyle/>
          <a:p>
            <a:r>
              <a:rPr lang="de-DE" dirty="0" err="1"/>
              <a:t>Explainable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agentic</a:t>
            </a:r>
            <a:r>
              <a:rPr lang="de-DE" dirty="0"/>
              <a:t> AI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@2025 INNOWERK - FRANKFURT AM MAIN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>
          <a:xfrm>
            <a:off x="8830800" y="6310800"/>
            <a:ext cx="2820987" cy="163513"/>
          </a:xfrm>
        </p:spPr>
        <p:txBody>
          <a:bodyPr/>
          <a:lstStyle/>
          <a:p>
            <a:r>
              <a:rPr lang="en-US"/>
              <a:t>6 November 2025</a:t>
            </a:r>
            <a:endParaRPr lang="de-DE" dirty="0"/>
          </a:p>
        </p:txBody>
      </p:sp>
      <p:sp>
        <p:nvSpPr>
          <p:cNvPr id="10" name="Rectangle 193">
            <a:extLst>
              <a:ext uri="{FF2B5EF4-FFF2-40B4-BE49-F238E27FC236}">
                <a16:creationId xmlns:a16="http://schemas.microsoft.com/office/drawing/2014/main" id="{51B53CE7-6E49-4104-8145-05F8555C0092}"/>
              </a:ext>
            </a:extLst>
          </p:cNvPr>
          <p:cNvSpPr/>
          <p:nvPr/>
        </p:nvSpPr>
        <p:spPr>
          <a:xfrm>
            <a:off x="2063235" y="3585543"/>
            <a:ext cx="1419343" cy="830997"/>
          </a:xfrm>
          <a:prstGeom prst="rect">
            <a:avLst/>
          </a:prstGeom>
          <a:ln w="28575">
            <a:noFill/>
          </a:ln>
        </p:spPr>
        <p:txBody>
          <a:bodyPr wrap="square" anchor="ctr">
            <a:spAutoFit/>
          </a:bodyPr>
          <a:lstStyle/>
          <a:p>
            <a:pPr algn="ctr" defTabSz="1097289">
              <a:defRPr/>
            </a:pPr>
            <a:r>
              <a:rPr lang="de-DE" sz="1600" b="1" kern="0" dirty="0">
                <a:latin typeface="Lato" panose="020F0502020204030203" pitchFamily="34" charset="0"/>
              </a:rPr>
              <a:t>Chat</a:t>
            </a:r>
          </a:p>
          <a:p>
            <a:pPr algn="ctr" defTabSz="1097289">
              <a:defRPr/>
            </a:pPr>
            <a:r>
              <a:rPr lang="de-DE" sz="1600" kern="0" dirty="0">
                <a:latin typeface="Lato" panose="020F0502020204030203" pitchFamily="34" charset="0"/>
              </a:rPr>
              <a:t>Natural Language</a:t>
            </a:r>
          </a:p>
        </p:txBody>
      </p:sp>
      <p:sp>
        <p:nvSpPr>
          <p:cNvPr id="33" name="Rectangle 193">
            <a:extLst>
              <a:ext uri="{FF2B5EF4-FFF2-40B4-BE49-F238E27FC236}">
                <a16:creationId xmlns:a16="http://schemas.microsoft.com/office/drawing/2014/main" id="{51B53CE7-6E49-4104-8145-05F8555C0092}"/>
              </a:ext>
            </a:extLst>
          </p:cNvPr>
          <p:cNvSpPr/>
          <p:nvPr/>
        </p:nvSpPr>
        <p:spPr>
          <a:xfrm>
            <a:off x="4438031" y="3569214"/>
            <a:ext cx="1474898" cy="830997"/>
          </a:xfrm>
          <a:prstGeom prst="rect">
            <a:avLst/>
          </a:prstGeom>
          <a:ln w="28575">
            <a:noFill/>
          </a:ln>
        </p:spPr>
        <p:txBody>
          <a:bodyPr wrap="square" anchor="ctr">
            <a:spAutoFit/>
          </a:bodyPr>
          <a:lstStyle/>
          <a:p>
            <a:pPr algn="ctr" defTabSz="1097289">
              <a:defRPr/>
            </a:pPr>
            <a:r>
              <a:rPr lang="de-DE" sz="1600" b="1" kern="0" dirty="0">
                <a:latin typeface="Lato" panose="020F0502020204030203" pitchFamily="34" charset="0"/>
              </a:rPr>
              <a:t>Tools</a:t>
            </a:r>
          </a:p>
          <a:p>
            <a:pPr algn="ctr" defTabSz="1097289">
              <a:defRPr/>
            </a:pPr>
            <a:r>
              <a:rPr lang="de-DE" sz="1600" kern="0" dirty="0">
                <a:latin typeface="Lato" panose="020F0502020204030203" pitchFamily="34" charset="0"/>
              </a:rPr>
              <a:t>Structured In- and Output</a:t>
            </a:r>
          </a:p>
        </p:txBody>
      </p:sp>
      <p:grpSp>
        <p:nvGrpSpPr>
          <p:cNvPr id="29" name="Gruppieren 28"/>
          <p:cNvGrpSpPr>
            <a:grpSpLocks noChangeAspect="1"/>
          </p:cNvGrpSpPr>
          <p:nvPr/>
        </p:nvGrpSpPr>
        <p:grpSpPr>
          <a:xfrm>
            <a:off x="3484557" y="3595412"/>
            <a:ext cx="936000" cy="936000"/>
            <a:chOff x="4856158" y="3824853"/>
            <a:chExt cx="648000" cy="648000"/>
          </a:xfrm>
        </p:grpSpPr>
        <p:sp>
          <p:nvSpPr>
            <p:cNvPr id="19" name="Freeform: Shape 362">
              <a:extLst>
                <a:ext uri="{FF2B5EF4-FFF2-40B4-BE49-F238E27FC236}">
                  <a16:creationId xmlns:a16="http://schemas.microsoft.com/office/drawing/2014/main" id="{8F56B91A-DDDB-487F-A88B-C6471DA18B9C}"/>
                </a:ext>
              </a:extLst>
            </p:cNvPr>
            <p:cNvSpPr/>
            <p:nvPr/>
          </p:nvSpPr>
          <p:spPr>
            <a:xfrm>
              <a:off x="4856158" y="3824853"/>
              <a:ext cx="648000" cy="648000"/>
            </a:xfrm>
            <a:custGeom>
              <a:avLst/>
              <a:gdLst>
                <a:gd name="connsiteX0" fmla="*/ 0 w 306268"/>
                <a:gd name="connsiteY0" fmla="*/ 0 h 306268"/>
                <a:gd name="connsiteX1" fmla="*/ 306269 w 306268"/>
                <a:gd name="connsiteY1" fmla="*/ 0 h 306268"/>
                <a:gd name="connsiteX2" fmla="*/ 306269 w 306268"/>
                <a:gd name="connsiteY2" fmla="*/ 306269 h 306268"/>
                <a:gd name="connsiteX3" fmla="*/ 0 w 306268"/>
                <a:gd name="connsiteY3" fmla="*/ 306269 h 3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268" h="306268">
                  <a:moveTo>
                    <a:pt x="0" y="0"/>
                  </a:moveTo>
                  <a:lnTo>
                    <a:pt x="306269" y="0"/>
                  </a:lnTo>
                  <a:lnTo>
                    <a:pt x="306269" y="306269"/>
                  </a:lnTo>
                  <a:lnTo>
                    <a:pt x="0" y="306269"/>
                  </a:lnTo>
                  <a:close/>
                </a:path>
              </a:pathLst>
            </a:custGeom>
            <a:solidFill>
              <a:schemeClr val="bg1"/>
            </a:solidFill>
            <a:ln w="19050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cxnSp>
          <p:nvCxnSpPr>
            <p:cNvPr id="20" name="Gerader Verbinder 19"/>
            <p:cNvCxnSpPr>
              <a:stCxn id="21" idx="2"/>
              <a:endCxn id="23" idx="0"/>
            </p:cNvCxnSpPr>
            <p:nvPr/>
          </p:nvCxnSpPr>
          <p:spPr>
            <a:xfrm>
              <a:off x="5181857" y="4161236"/>
              <a:ext cx="0" cy="37235"/>
            </a:xfrm>
            <a:prstGeom prst="line">
              <a:avLst/>
            </a:prstGeom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Abgerundetes Rechteck 20"/>
            <p:cNvSpPr/>
            <p:nvPr/>
          </p:nvSpPr>
          <p:spPr>
            <a:xfrm>
              <a:off x="5062646" y="3969714"/>
              <a:ext cx="238422" cy="191522"/>
            </a:xfrm>
            <a:prstGeom prst="roundRect">
              <a:avLst/>
            </a:prstGeom>
            <a:noFill/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noFill/>
              </a:endParaRPr>
            </a:p>
          </p:txBody>
        </p:sp>
        <p:cxnSp>
          <p:nvCxnSpPr>
            <p:cNvPr id="22" name="Gerader Verbinder 21"/>
            <p:cNvCxnSpPr>
              <a:stCxn id="21" idx="0"/>
            </p:cNvCxnSpPr>
            <p:nvPr/>
          </p:nvCxnSpPr>
          <p:spPr>
            <a:xfrm flipH="1" flipV="1">
              <a:off x="5177078" y="3874888"/>
              <a:ext cx="4779" cy="94826"/>
            </a:xfrm>
            <a:prstGeom prst="line">
              <a:avLst/>
            </a:prstGeom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3" name="Abgerundetes Rechteck 22"/>
            <p:cNvSpPr/>
            <p:nvPr/>
          </p:nvSpPr>
          <p:spPr>
            <a:xfrm>
              <a:off x="5062646" y="4198471"/>
              <a:ext cx="238422" cy="191522"/>
            </a:xfrm>
            <a:prstGeom prst="roundRect">
              <a:avLst/>
            </a:prstGeom>
            <a:noFill/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noFill/>
              </a:endParaRPr>
            </a:p>
          </p:txBody>
        </p:sp>
        <p:sp>
          <p:nvSpPr>
            <p:cNvPr id="24" name="Ellipse 23"/>
            <p:cNvSpPr/>
            <p:nvPr/>
          </p:nvSpPr>
          <p:spPr>
            <a:xfrm>
              <a:off x="5207648" y="4021832"/>
              <a:ext cx="45719" cy="45719"/>
            </a:xfrm>
            <a:prstGeom prst="ellipse">
              <a:avLst/>
            </a:prstGeom>
            <a:noFill/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Ellipse 24"/>
            <p:cNvSpPr/>
            <p:nvPr/>
          </p:nvSpPr>
          <p:spPr>
            <a:xfrm>
              <a:off x="5114426" y="4021832"/>
              <a:ext cx="45719" cy="45719"/>
            </a:xfrm>
            <a:prstGeom prst="ellipse">
              <a:avLst/>
            </a:prstGeom>
            <a:noFill/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Abgerundetes Rechteck 25"/>
            <p:cNvSpPr/>
            <p:nvPr/>
          </p:nvSpPr>
          <p:spPr>
            <a:xfrm>
              <a:off x="5102715" y="4243582"/>
              <a:ext cx="154936" cy="56851"/>
            </a:xfrm>
            <a:prstGeom prst="roundRect">
              <a:avLst/>
            </a:prstGeom>
            <a:noFill/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noFill/>
              </a:endParaRPr>
            </a:p>
          </p:txBody>
        </p:sp>
      </p:grpSp>
      <p:grpSp>
        <p:nvGrpSpPr>
          <p:cNvPr id="39" name="Gruppieren 38"/>
          <p:cNvGrpSpPr/>
          <p:nvPr/>
        </p:nvGrpSpPr>
        <p:grpSpPr>
          <a:xfrm>
            <a:off x="5914908" y="3590378"/>
            <a:ext cx="936820" cy="936000"/>
            <a:chOff x="7295474" y="3751741"/>
            <a:chExt cx="936820" cy="936000"/>
          </a:xfrm>
        </p:grpSpPr>
        <p:sp>
          <p:nvSpPr>
            <p:cNvPr id="37" name="Freeform: Shape 281">
              <a:extLst>
                <a:ext uri="{FF2B5EF4-FFF2-40B4-BE49-F238E27FC236}">
                  <a16:creationId xmlns:a16="http://schemas.microsoft.com/office/drawing/2014/main" id="{EF8262A2-1739-4C86-9E97-F34799AEA46C}"/>
                </a:ext>
              </a:extLst>
            </p:cNvPr>
            <p:cNvSpPr/>
            <p:nvPr/>
          </p:nvSpPr>
          <p:spPr>
            <a:xfrm>
              <a:off x="7295474" y="3751741"/>
              <a:ext cx="936820" cy="936000"/>
            </a:xfrm>
            <a:custGeom>
              <a:avLst/>
              <a:gdLst>
                <a:gd name="connsiteX0" fmla="*/ 0 w 306268"/>
                <a:gd name="connsiteY0" fmla="*/ 0 h 306268"/>
                <a:gd name="connsiteX1" fmla="*/ 306269 w 306268"/>
                <a:gd name="connsiteY1" fmla="*/ 0 h 306268"/>
                <a:gd name="connsiteX2" fmla="*/ 306269 w 306268"/>
                <a:gd name="connsiteY2" fmla="*/ 306269 h 306268"/>
                <a:gd name="connsiteX3" fmla="*/ 0 w 306268"/>
                <a:gd name="connsiteY3" fmla="*/ 306269 h 3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268" h="306268">
                  <a:moveTo>
                    <a:pt x="0" y="0"/>
                  </a:moveTo>
                  <a:lnTo>
                    <a:pt x="306269" y="0"/>
                  </a:lnTo>
                  <a:lnTo>
                    <a:pt x="306269" y="306269"/>
                  </a:lnTo>
                  <a:lnTo>
                    <a:pt x="0" y="306269"/>
                  </a:lnTo>
                  <a:close/>
                </a:path>
              </a:pathLst>
            </a:custGeom>
            <a:solidFill>
              <a:schemeClr val="bg1"/>
            </a:solidFill>
            <a:ln w="19050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eform: Shape 280">
              <a:extLst>
                <a:ext uri="{FF2B5EF4-FFF2-40B4-BE49-F238E27FC236}">
                  <a16:creationId xmlns:a16="http://schemas.microsoft.com/office/drawing/2014/main" id="{F82AF232-79F3-49B8-93FC-29BBA3B23B68}"/>
                </a:ext>
              </a:extLst>
            </p:cNvPr>
            <p:cNvSpPr/>
            <p:nvPr/>
          </p:nvSpPr>
          <p:spPr>
            <a:xfrm>
              <a:off x="7459378" y="3928240"/>
              <a:ext cx="609012" cy="582975"/>
            </a:xfrm>
            <a:custGeom>
              <a:avLst/>
              <a:gdLst>
                <a:gd name="connsiteX0" fmla="*/ 78379 w 199100"/>
                <a:gd name="connsiteY0" fmla="*/ 8 h 190755"/>
                <a:gd name="connsiteX1" fmla="*/ 120719 w 199100"/>
                <a:gd name="connsiteY1" fmla="*/ 8 h 190755"/>
                <a:gd name="connsiteX2" fmla="*/ 143014 w 199100"/>
                <a:gd name="connsiteY2" fmla="*/ 22263 h 190755"/>
                <a:gd name="connsiteX3" fmla="*/ 143014 w 199100"/>
                <a:gd name="connsiteY3" fmla="*/ 29155 h 190755"/>
                <a:gd name="connsiteX4" fmla="*/ 159711 w 199100"/>
                <a:gd name="connsiteY4" fmla="*/ 29155 h 190755"/>
                <a:gd name="connsiteX5" fmla="*/ 199100 w 199100"/>
                <a:gd name="connsiteY5" fmla="*/ 68503 h 190755"/>
                <a:gd name="connsiteX6" fmla="*/ 199100 w 199100"/>
                <a:gd name="connsiteY6" fmla="*/ 151370 h 190755"/>
                <a:gd name="connsiteX7" fmla="*/ 159711 w 199100"/>
                <a:gd name="connsiteY7" fmla="*/ 190755 h 190755"/>
                <a:gd name="connsiteX8" fmla="*/ 39385 w 199100"/>
                <a:gd name="connsiteY8" fmla="*/ 190755 h 190755"/>
                <a:gd name="connsiteX9" fmla="*/ 11581 w 199100"/>
                <a:gd name="connsiteY9" fmla="*/ 179176 h 190755"/>
                <a:gd name="connsiteX10" fmla="*/ 11144 w 199100"/>
                <a:gd name="connsiteY10" fmla="*/ 178699 h 190755"/>
                <a:gd name="connsiteX11" fmla="*/ 0 w 199100"/>
                <a:gd name="connsiteY11" fmla="*/ 151363 h 190755"/>
                <a:gd name="connsiteX12" fmla="*/ 0 w 199100"/>
                <a:gd name="connsiteY12" fmla="*/ 68495 h 190755"/>
                <a:gd name="connsiteX13" fmla="*/ 11580 w 199100"/>
                <a:gd name="connsiteY13" fmla="*/ 40727 h 190755"/>
                <a:gd name="connsiteX14" fmla="*/ 11580 w 199100"/>
                <a:gd name="connsiteY14" fmla="*/ 40687 h 190755"/>
                <a:gd name="connsiteX15" fmla="*/ 11580 w 199100"/>
                <a:gd name="connsiteY15" fmla="*/ 40687 h 190755"/>
                <a:gd name="connsiteX16" fmla="*/ 39384 w 199100"/>
                <a:gd name="connsiteY16" fmla="*/ 29147 h 190755"/>
                <a:gd name="connsiteX17" fmla="*/ 56085 w 199100"/>
                <a:gd name="connsiteY17" fmla="*/ 29147 h 190755"/>
                <a:gd name="connsiteX18" fmla="*/ 56085 w 199100"/>
                <a:gd name="connsiteY18" fmla="*/ 22255 h 190755"/>
                <a:gd name="connsiteX19" fmla="*/ 78374 w 199100"/>
                <a:gd name="connsiteY19" fmla="*/ 0 h 190755"/>
                <a:gd name="connsiteX20" fmla="*/ 139272 w 199100"/>
                <a:gd name="connsiteY20" fmla="*/ 44477 h 190755"/>
                <a:gd name="connsiteX21" fmla="*/ 139272 w 199100"/>
                <a:gd name="connsiteY21" fmla="*/ 44477 h 190755"/>
                <a:gd name="connsiteX22" fmla="*/ 138425 w 199100"/>
                <a:gd name="connsiteY22" fmla="*/ 44554 h 190755"/>
                <a:gd name="connsiteX23" fmla="*/ 60676 w 199100"/>
                <a:gd name="connsiteY23" fmla="*/ 44554 h 190755"/>
                <a:gd name="connsiteX24" fmla="*/ 59809 w 199100"/>
                <a:gd name="connsiteY24" fmla="*/ 44477 h 190755"/>
                <a:gd name="connsiteX25" fmla="*/ 39385 w 199100"/>
                <a:gd name="connsiteY25" fmla="*/ 44477 h 190755"/>
                <a:gd name="connsiteX26" fmla="*/ 22410 w 199100"/>
                <a:gd name="connsiteY26" fmla="*/ 51525 h 190755"/>
                <a:gd name="connsiteX27" fmla="*/ 22369 w 199100"/>
                <a:gd name="connsiteY27" fmla="*/ 51525 h 190755"/>
                <a:gd name="connsiteX28" fmla="*/ 15339 w 199100"/>
                <a:gd name="connsiteY28" fmla="*/ 68501 h 190755"/>
                <a:gd name="connsiteX29" fmla="*/ 15339 w 199100"/>
                <a:gd name="connsiteY29" fmla="*/ 105363 h 190755"/>
                <a:gd name="connsiteX30" fmla="*/ 37179 w 199100"/>
                <a:gd name="connsiteY30" fmla="*/ 105363 h 190755"/>
                <a:gd name="connsiteX31" fmla="*/ 37179 w 199100"/>
                <a:gd name="connsiteY31" fmla="*/ 91738 h 190755"/>
                <a:gd name="connsiteX32" fmla="*/ 41758 w 199100"/>
                <a:gd name="connsiteY32" fmla="*/ 87173 h 190755"/>
                <a:gd name="connsiteX33" fmla="*/ 41769 w 199100"/>
                <a:gd name="connsiteY33" fmla="*/ 87173 h 190755"/>
                <a:gd name="connsiteX34" fmla="*/ 74559 w 199100"/>
                <a:gd name="connsiteY34" fmla="*/ 87173 h 190755"/>
                <a:gd name="connsiteX35" fmla="*/ 79185 w 199100"/>
                <a:gd name="connsiteY35" fmla="*/ 91738 h 190755"/>
                <a:gd name="connsiteX36" fmla="*/ 79185 w 199100"/>
                <a:gd name="connsiteY36" fmla="*/ 105367 h 190755"/>
                <a:gd name="connsiteX37" fmla="*/ 119912 w 199100"/>
                <a:gd name="connsiteY37" fmla="*/ 105367 h 190755"/>
                <a:gd name="connsiteX38" fmla="*/ 119912 w 199100"/>
                <a:gd name="connsiteY38" fmla="*/ 91738 h 190755"/>
                <a:gd name="connsiteX39" fmla="*/ 124538 w 199100"/>
                <a:gd name="connsiteY39" fmla="*/ 87173 h 190755"/>
                <a:gd name="connsiteX40" fmla="*/ 157305 w 199100"/>
                <a:gd name="connsiteY40" fmla="*/ 87173 h 190755"/>
                <a:gd name="connsiteX41" fmla="*/ 161915 w 199100"/>
                <a:gd name="connsiteY41" fmla="*/ 91720 h 190755"/>
                <a:gd name="connsiteX42" fmla="*/ 161915 w 199100"/>
                <a:gd name="connsiteY42" fmla="*/ 91738 h 190755"/>
                <a:gd name="connsiteX43" fmla="*/ 161915 w 199100"/>
                <a:gd name="connsiteY43" fmla="*/ 105367 h 190755"/>
                <a:gd name="connsiteX44" fmla="*/ 183754 w 199100"/>
                <a:gd name="connsiteY44" fmla="*/ 105367 h 190755"/>
                <a:gd name="connsiteX45" fmla="*/ 183754 w 199100"/>
                <a:gd name="connsiteY45" fmla="*/ 68505 h 190755"/>
                <a:gd name="connsiteX46" fmla="*/ 159708 w 199100"/>
                <a:gd name="connsiteY46" fmla="*/ 44479 h 190755"/>
                <a:gd name="connsiteX47" fmla="*/ 65303 w 199100"/>
                <a:gd name="connsiteY47" fmla="*/ 29155 h 190755"/>
                <a:gd name="connsiteX48" fmla="*/ 133815 w 199100"/>
                <a:gd name="connsiteY48" fmla="*/ 29155 h 190755"/>
                <a:gd name="connsiteX49" fmla="*/ 133815 w 199100"/>
                <a:gd name="connsiteY49" fmla="*/ 22263 h 190755"/>
                <a:gd name="connsiteX50" fmla="*/ 120719 w 199100"/>
                <a:gd name="connsiteY50" fmla="*/ 9187 h 190755"/>
                <a:gd name="connsiteX51" fmla="*/ 78379 w 199100"/>
                <a:gd name="connsiteY51" fmla="*/ 9187 h 190755"/>
                <a:gd name="connsiteX52" fmla="*/ 65303 w 199100"/>
                <a:gd name="connsiteY52" fmla="*/ 22192 h 190755"/>
                <a:gd name="connsiteX53" fmla="*/ 65303 w 199100"/>
                <a:gd name="connsiteY53" fmla="*/ 22263 h 190755"/>
                <a:gd name="connsiteX54" fmla="*/ 65303 w 199100"/>
                <a:gd name="connsiteY54" fmla="*/ 29155 h 190755"/>
                <a:gd name="connsiteX55" fmla="*/ 15339 w 199100"/>
                <a:gd name="connsiteY55" fmla="*/ 114547 h 190755"/>
                <a:gd name="connsiteX56" fmla="*/ 15339 w 199100"/>
                <a:gd name="connsiteY56" fmla="*/ 114547 h 190755"/>
                <a:gd name="connsiteX57" fmla="*/ 15339 w 199100"/>
                <a:gd name="connsiteY57" fmla="*/ 151373 h 190755"/>
                <a:gd name="connsiteX58" fmla="*/ 22094 w 199100"/>
                <a:gd name="connsiteY58" fmla="*/ 168071 h 190755"/>
                <a:gd name="connsiteX59" fmla="*/ 22410 w 199100"/>
                <a:gd name="connsiteY59" fmla="*/ 168350 h 190755"/>
                <a:gd name="connsiteX60" fmla="*/ 39385 w 199100"/>
                <a:gd name="connsiteY60" fmla="*/ 175435 h 190755"/>
                <a:gd name="connsiteX61" fmla="*/ 159711 w 199100"/>
                <a:gd name="connsiteY61" fmla="*/ 175435 h 190755"/>
                <a:gd name="connsiteX62" fmla="*/ 183757 w 199100"/>
                <a:gd name="connsiteY62" fmla="*/ 151373 h 190755"/>
                <a:gd name="connsiteX63" fmla="*/ 183757 w 199100"/>
                <a:gd name="connsiteY63" fmla="*/ 114547 h 190755"/>
                <a:gd name="connsiteX64" fmla="*/ 161919 w 199100"/>
                <a:gd name="connsiteY64" fmla="*/ 114547 h 190755"/>
                <a:gd name="connsiteX65" fmla="*/ 161919 w 199100"/>
                <a:gd name="connsiteY65" fmla="*/ 128134 h 190755"/>
                <a:gd name="connsiteX66" fmla="*/ 157308 w 199100"/>
                <a:gd name="connsiteY66" fmla="*/ 132744 h 190755"/>
                <a:gd name="connsiteX67" fmla="*/ 124542 w 199100"/>
                <a:gd name="connsiteY67" fmla="*/ 132744 h 190755"/>
                <a:gd name="connsiteX68" fmla="*/ 119916 w 199100"/>
                <a:gd name="connsiteY68" fmla="*/ 128134 h 190755"/>
                <a:gd name="connsiteX69" fmla="*/ 119916 w 199100"/>
                <a:gd name="connsiteY69" fmla="*/ 114547 h 190755"/>
                <a:gd name="connsiteX70" fmla="*/ 79189 w 199100"/>
                <a:gd name="connsiteY70" fmla="*/ 114547 h 190755"/>
                <a:gd name="connsiteX71" fmla="*/ 79189 w 199100"/>
                <a:gd name="connsiteY71" fmla="*/ 128134 h 190755"/>
                <a:gd name="connsiteX72" fmla="*/ 74563 w 199100"/>
                <a:gd name="connsiteY72" fmla="*/ 132744 h 190755"/>
                <a:gd name="connsiteX73" fmla="*/ 41773 w 199100"/>
                <a:gd name="connsiteY73" fmla="*/ 132744 h 190755"/>
                <a:gd name="connsiteX74" fmla="*/ 37183 w 199100"/>
                <a:gd name="connsiteY74" fmla="*/ 128134 h 190755"/>
                <a:gd name="connsiteX75" fmla="*/ 37183 w 199100"/>
                <a:gd name="connsiteY75" fmla="*/ 114547 h 190755"/>
                <a:gd name="connsiteX76" fmla="*/ 69969 w 199100"/>
                <a:gd name="connsiteY76" fmla="*/ 96348 h 190755"/>
                <a:gd name="connsiteX77" fmla="*/ 46358 w 199100"/>
                <a:gd name="connsiteY77" fmla="*/ 96348 h 190755"/>
                <a:gd name="connsiteX78" fmla="*/ 46358 w 199100"/>
                <a:gd name="connsiteY78" fmla="*/ 123526 h 190755"/>
                <a:gd name="connsiteX79" fmla="*/ 69969 w 199100"/>
                <a:gd name="connsiteY79" fmla="*/ 123526 h 190755"/>
                <a:gd name="connsiteX80" fmla="*/ 69969 w 199100"/>
                <a:gd name="connsiteY80" fmla="*/ 96348 h 190755"/>
                <a:gd name="connsiteX81" fmla="*/ 152722 w 199100"/>
                <a:gd name="connsiteY81" fmla="*/ 96348 h 190755"/>
                <a:gd name="connsiteX82" fmla="*/ 129108 w 199100"/>
                <a:gd name="connsiteY82" fmla="*/ 96348 h 190755"/>
                <a:gd name="connsiteX83" fmla="*/ 129108 w 199100"/>
                <a:gd name="connsiteY83" fmla="*/ 123526 h 190755"/>
                <a:gd name="connsiteX84" fmla="*/ 152722 w 199100"/>
                <a:gd name="connsiteY84" fmla="*/ 123526 h 190755"/>
                <a:gd name="connsiteX85" fmla="*/ 152722 w 199100"/>
                <a:gd name="connsiteY85" fmla="*/ 96348 h 190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199100" h="190755">
                  <a:moveTo>
                    <a:pt x="78379" y="8"/>
                  </a:moveTo>
                  <a:lnTo>
                    <a:pt x="120719" y="8"/>
                  </a:lnTo>
                  <a:cubicBezTo>
                    <a:pt x="133003" y="40"/>
                    <a:pt x="142959" y="9979"/>
                    <a:pt x="143014" y="22263"/>
                  </a:cubicBezTo>
                  <a:lnTo>
                    <a:pt x="143014" y="29155"/>
                  </a:lnTo>
                  <a:lnTo>
                    <a:pt x="159711" y="29155"/>
                  </a:lnTo>
                  <a:cubicBezTo>
                    <a:pt x="181431" y="29198"/>
                    <a:pt x="199035" y="46783"/>
                    <a:pt x="199100" y="68503"/>
                  </a:cubicBezTo>
                  <a:lnTo>
                    <a:pt x="199100" y="151370"/>
                  </a:lnTo>
                  <a:cubicBezTo>
                    <a:pt x="199017" y="173089"/>
                    <a:pt x="181430" y="190674"/>
                    <a:pt x="159711" y="190755"/>
                  </a:cubicBezTo>
                  <a:lnTo>
                    <a:pt x="39385" y="190755"/>
                  </a:lnTo>
                  <a:cubicBezTo>
                    <a:pt x="28944" y="190753"/>
                    <a:pt x="18936" y="186585"/>
                    <a:pt x="11581" y="179176"/>
                  </a:cubicBezTo>
                  <a:lnTo>
                    <a:pt x="11144" y="178699"/>
                  </a:lnTo>
                  <a:cubicBezTo>
                    <a:pt x="4011" y="171387"/>
                    <a:pt x="12" y="161579"/>
                    <a:pt x="0" y="151363"/>
                  </a:cubicBezTo>
                  <a:lnTo>
                    <a:pt x="0" y="68495"/>
                  </a:lnTo>
                  <a:cubicBezTo>
                    <a:pt x="18" y="58068"/>
                    <a:pt x="4184" y="48077"/>
                    <a:pt x="11580" y="40727"/>
                  </a:cubicBezTo>
                  <a:lnTo>
                    <a:pt x="11580" y="40687"/>
                  </a:lnTo>
                  <a:lnTo>
                    <a:pt x="11580" y="40687"/>
                  </a:lnTo>
                  <a:cubicBezTo>
                    <a:pt x="18941" y="33290"/>
                    <a:pt x="28949" y="29136"/>
                    <a:pt x="39384" y="29147"/>
                  </a:cubicBezTo>
                  <a:lnTo>
                    <a:pt x="56085" y="29147"/>
                  </a:lnTo>
                  <a:lnTo>
                    <a:pt x="56085" y="22255"/>
                  </a:lnTo>
                  <a:cubicBezTo>
                    <a:pt x="56121" y="9966"/>
                    <a:pt x="66085" y="18"/>
                    <a:pt x="78374" y="0"/>
                  </a:cubicBezTo>
                  <a:close/>
                  <a:moveTo>
                    <a:pt x="139272" y="44477"/>
                  </a:moveTo>
                  <a:lnTo>
                    <a:pt x="139272" y="44477"/>
                  </a:lnTo>
                  <a:cubicBezTo>
                    <a:pt x="138992" y="44525"/>
                    <a:pt x="138709" y="44550"/>
                    <a:pt x="138425" y="44554"/>
                  </a:cubicBezTo>
                  <a:lnTo>
                    <a:pt x="60676" y="44554"/>
                  </a:lnTo>
                  <a:cubicBezTo>
                    <a:pt x="60386" y="44548"/>
                    <a:pt x="60096" y="44522"/>
                    <a:pt x="59809" y="44477"/>
                  </a:cubicBezTo>
                  <a:lnTo>
                    <a:pt x="39385" y="44477"/>
                  </a:lnTo>
                  <a:cubicBezTo>
                    <a:pt x="33013" y="44467"/>
                    <a:pt x="26901" y="47005"/>
                    <a:pt x="22410" y="51525"/>
                  </a:cubicBezTo>
                  <a:lnTo>
                    <a:pt x="22369" y="51525"/>
                  </a:lnTo>
                  <a:cubicBezTo>
                    <a:pt x="17872" y="56031"/>
                    <a:pt x="15344" y="62135"/>
                    <a:pt x="15339" y="68501"/>
                  </a:cubicBezTo>
                  <a:lnTo>
                    <a:pt x="15339" y="105363"/>
                  </a:lnTo>
                  <a:lnTo>
                    <a:pt x="37179" y="105363"/>
                  </a:lnTo>
                  <a:lnTo>
                    <a:pt x="37179" y="91738"/>
                  </a:lnTo>
                  <a:cubicBezTo>
                    <a:pt x="37183" y="89213"/>
                    <a:pt x="39233" y="87169"/>
                    <a:pt x="41758" y="87173"/>
                  </a:cubicBezTo>
                  <a:cubicBezTo>
                    <a:pt x="41761" y="87173"/>
                    <a:pt x="41765" y="87173"/>
                    <a:pt x="41769" y="87173"/>
                  </a:cubicBezTo>
                  <a:lnTo>
                    <a:pt x="74559" y="87173"/>
                  </a:lnTo>
                  <a:cubicBezTo>
                    <a:pt x="77095" y="87162"/>
                    <a:pt x="79163" y="89202"/>
                    <a:pt x="79185" y="91738"/>
                  </a:cubicBezTo>
                  <a:lnTo>
                    <a:pt x="79185" y="105367"/>
                  </a:lnTo>
                  <a:lnTo>
                    <a:pt x="119912" y="105367"/>
                  </a:lnTo>
                  <a:lnTo>
                    <a:pt x="119912" y="91738"/>
                  </a:lnTo>
                  <a:cubicBezTo>
                    <a:pt x="119936" y="89203"/>
                    <a:pt x="122003" y="87163"/>
                    <a:pt x="124538" y="87173"/>
                  </a:cubicBezTo>
                  <a:lnTo>
                    <a:pt x="157305" y="87173"/>
                  </a:lnTo>
                  <a:cubicBezTo>
                    <a:pt x="159833" y="87155"/>
                    <a:pt x="161897" y="89191"/>
                    <a:pt x="161915" y="91720"/>
                  </a:cubicBezTo>
                  <a:cubicBezTo>
                    <a:pt x="161915" y="91726"/>
                    <a:pt x="161915" y="91732"/>
                    <a:pt x="161915" y="91738"/>
                  </a:cubicBezTo>
                  <a:lnTo>
                    <a:pt x="161915" y="105367"/>
                  </a:lnTo>
                  <a:lnTo>
                    <a:pt x="183754" y="105367"/>
                  </a:lnTo>
                  <a:lnTo>
                    <a:pt x="183754" y="68505"/>
                  </a:lnTo>
                  <a:cubicBezTo>
                    <a:pt x="183729" y="55238"/>
                    <a:pt x="172975" y="44492"/>
                    <a:pt x="159708" y="44479"/>
                  </a:cubicBezTo>
                  <a:close/>
                  <a:moveTo>
                    <a:pt x="65303" y="29155"/>
                  </a:moveTo>
                  <a:lnTo>
                    <a:pt x="133815" y="29155"/>
                  </a:lnTo>
                  <a:lnTo>
                    <a:pt x="133815" y="22263"/>
                  </a:lnTo>
                  <a:cubicBezTo>
                    <a:pt x="133796" y="15041"/>
                    <a:pt x="127941" y="9195"/>
                    <a:pt x="120719" y="9187"/>
                  </a:cubicBezTo>
                  <a:lnTo>
                    <a:pt x="78379" y="9187"/>
                  </a:lnTo>
                  <a:cubicBezTo>
                    <a:pt x="71176" y="9167"/>
                    <a:pt x="65322" y="14990"/>
                    <a:pt x="65303" y="22192"/>
                  </a:cubicBezTo>
                  <a:cubicBezTo>
                    <a:pt x="65303" y="22216"/>
                    <a:pt x="65303" y="22239"/>
                    <a:pt x="65303" y="22263"/>
                  </a:cubicBezTo>
                  <a:lnTo>
                    <a:pt x="65303" y="29155"/>
                  </a:lnTo>
                  <a:close/>
                  <a:moveTo>
                    <a:pt x="15339" y="114547"/>
                  </a:moveTo>
                  <a:lnTo>
                    <a:pt x="15339" y="114547"/>
                  </a:lnTo>
                  <a:lnTo>
                    <a:pt x="15339" y="151373"/>
                  </a:lnTo>
                  <a:cubicBezTo>
                    <a:pt x="15333" y="157606"/>
                    <a:pt x="17756" y="163595"/>
                    <a:pt x="22094" y="168071"/>
                  </a:cubicBezTo>
                  <a:lnTo>
                    <a:pt x="22410" y="168350"/>
                  </a:lnTo>
                  <a:cubicBezTo>
                    <a:pt x="26897" y="172881"/>
                    <a:pt x="33008" y="175432"/>
                    <a:pt x="39385" y="175435"/>
                  </a:cubicBezTo>
                  <a:lnTo>
                    <a:pt x="159711" y="175435"/>
                  </a:lnTo>
                  <a:cubicBezTo>
                    <a:pt x="172979" y="175389"/>
                    <a:pt x="183720" y="164640"/>
                    <a:pt x="183757" y="151373"/>
                  </a:cubicBezTo>
                  <a:lnTo>
                    <a:pt x="183757" y="114547"/>
                  </a:lnTo>
                  <a:lnTo>
                    <a:pt x="161919" y="114547"/>
                  </a:lnTo>
                  <a:lnTo>
                    <a:pt x="161919" y="128134"/>
                  </a:lnTo>
                  <a:cubicBezTo>
                    <a:pt x="161915" y="130679"/>
                    <a:pt x="159853" y="132741"/>
                    <a:pt x="157308" y="132744"/>
                  </a:cubicBezTo>
                  <a:lnTo>
                    <a:pt x="124542" y="132744"/>
                  </a:lnTo>
                  <a:cubicBezTo>
                    <a:pt x="121998" y="132733"/>
                    <a:pt x="119936" y="130678"/>
                    <a:pt x="119916" y="128134"/>
                  </a:cubicBezTo>
                  <a:lnTo>
                    <a:pt x="119916" y="114547"/>
                  </a:lnTo>
                  <a:lnTo>
                    <a:pt x="79189" y="114547"/>
                  </a:lnTo>
                  <a:lnTo>
                    <a:pt x="79189" y="128134"/>
                  </a:lnTo>
                  <a:cubicBezTo>
                    <a:pt x="79170" y="130679"/>
                    <a:pt x="77108" y="132734"/>
                    <a:pt x="74563" y="132744"/>
                  </a:cubicBezTo>
                  <a:lnTo>
                    <a:pt x="41773" y="132744"/>
                  </a:lnTo>
                  <a:cubicBezTo>
                    <a:pt x="39235" y="132732"/>
                    <a:pt x="37184" y="130672"/>
                    <a:pt x="37183" y="128134"/>
                  </a:cubicBezTo>
                  <a:lnTo>
                    <a:pt x="37183" y="114547"/>
                  </a:lnTo>
                  <a:close/>
                  <a:moveTo>
                    <a:pt x="69969" y="96348"/>
                  </a:moveTo>
                  <a:lnTo>
                    <a:pt x="46358" y="96348"/>
                  </a:lnTo>
                  <a:lnTo>
                    <a:pt x="46358" y="123526"/>
                  </a:lnTo>
                  <a:lnTo>
                    <a:pt x="69969" y="123526"/>
                  </a:lnTo>
                  <a:lnTo>
                    <a:pt x="69969" y="96348"/>
                  </a:lnTo>
                  <a:close/>
                  <a:moveTo>
                    <a:pt x="152722" y="96348"/>
                  </a:moveTo>
                  <a:lnTo>
                    <a:pt x="129108" y="96348"/>
                  </a:lnTo>
                  <a:lnTo>
                    <a:pt x="129108" y="123526"/>
                  </a:lnTo>
                  <a:lnTo>
                    <a:pt x="152722" y="123526"/>
                  </a:lnTo>
                  <a:lnTo>
                    <a:pt x="152722" y="96348"/>
                  </a:lnTo>
                  <a:close/>
                </a:path>
              </a:pathLst>
            </a:custGeom>
            <a:solidFill>
              <a:srgbClr val="BFBFB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70" name="Textfeld 69"/>
          <p:cNvSpPr txBox="1"/>
          <p:nvPr/>
        </p:nvSpPr>
        <p:spPr>
          <a:xfrm>
            <a:off x="4688540" y="2357719"/>
            <a:ext cx="2196352" cy="5416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de-DE" sz="1600" dirty="0">
                <a:ea typeface="Open Sans" panose="020B0606030504020204" pitchFamily="34" charset="0"/>
                <a:cs typeface="Open Sans" panose="020B0606030504020204" pitchFamily="34" charset="0"/>
              </a:rPr>
              <a:t>Tool-Name</a:t>
            </a:r>
          </a:p>
          <a:p>
            <a:pPr algn="l">
              <a:lnSpc>
                <a:spcPct val="110000"/>
              </a:lnSpc>
            </a:pPr>
            <a:r>
              <a:rPr lang="de-DE" sz="1600" dirty="0">
                <a:ea typeface="Open Sans" panose="020B0606030504020204" pitchFamily="34" charset="0"/>
                <a:cs typeface="Open Sans" panose="020B0606030504020204" pitchFamily="34" charset="0"/>
              </a:rPr>
              <a:t>Inputs</a:t>
            </a:r>
          </a:p>
        </p:txBody>
      </p:sp>
      <p:sp>
        <p:nvSpPr>
          <p:cNvPr id="71" name="Textfeld 70"/>
          <p:cNvSpPr txBox="1"/>
          <p:nvPr/>
        </p:nvSpPr>
        <p:spPr>
          <a:xfrm>
            <a:off x="1731765" y="2593647"/>
            <a:ext cx="1865695" cy="2708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de-DE" sz="1600" dirty="0">
                <a:ea typeface="Open Sans" panose="020B0606030504020204" pitchFamily="34" charset="0"/>
                <a:cs typeface="Open Sans" panose="020B0606030504020204" pitchFamily="34" charset="0"/>
              </a:rPr>
              <a:t>Query (Prompt)</a:t>
            </a:r>
          </a:p>
        </p:txBody>
      </p:sp>
      <p:sp>
        <p:nvSpPr>
          <p:cNvPr id="72" name="Textfeld 71"/>
          <p:cNvSpPr txBox="1"/>
          <p:nvPr/>
        </p:nvSpPr>
        <p:spPr>
          <a:xfrm>
            <a:off x="4322142" y="5190682"/>
            <a:ext cx="1865695" cy="2468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de-DE" sz="1600" dirty="0">
                <a:ea typeface="Open Sans" panose="020B0606030504020204" pitchFamily="34" charset="0"/>
                <a:cs typeface="Open Sans" panose="020B0606030504020204" pitchFamily="34" charset="0"/>
              </a:rPr>
              <a:t>Outputs</a:t>
            </a:r>
          </a:p>
        </p:txBody>
      </p:sp>
      <p:sp>
        <p:nvSpPr>
          <p:cNvPr id="73" name="Textfeld 72"/>
          <p:cNvSpPr txBox="1"/>
          <p:nvPr/>
        </p:nvSpPr>
        <p:spPr>
          <a:xfrm>
            <a:off x="1731764" y="5190682"/>
            <a:ext cx="1865695" cy="2468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de-DE" sz="1600" dirty="0">
                <a:ea typeface="Open Sans" panose="020B0606030504020204" pitchFamily="34" charset="0"/>
                <a:cs typeface="Open Sans" panose="020B0606030504020204" pitchFamily="34" charset="0"/>
              </a:rPr>
              <a:t>Response</a:t>
            </a:r>
          </a:p>
        </p:txBody>
      </p:sp>
      <p:grpSp>
        <p:nvGrpSpPr>
          <p:cNvPr id="102" name="Gruppieren 101"/>
          <p:cNvGrpSpPr/>
          <p:nvPr/>
        </p:nvGrpSpPr>
        <p:grpSpPr>
          <a:xfrm>
            <a:off x="1142558" y="3600000"/>
            <a:ext cx="936000" cy="1402854"/>
            <a:chOff x="9654747" y="2277839"/>
            <a:chExt cx="936000" cy="1402854"/>
          </a:xfrm>
        </p:grpSpPr>
        <p:sp>
          <p:nvSpPr>
            <p:cNvPr id="88" name="Freeform: Shape 380">
              <a:extLst>
                <a:ext uri="{FF2B5EF4-FFF2-40B4-BE49-F238E27FC236}">
                  <a16:creationId xmlns:a16="http://schemas.microsoft.com/office/drawing/2014/main" id="{832FD4CD-81B1-424E-9309-E03B59C22A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54747" y="2277839"/>
              <a:ext cx="936000" cy="936000"/>
            </a:xfrm>
            <a:custGeom>
              <a:avLst/>
              <a:gdLst>
                <a:gd name="connsiteX0" fmla="*/ 0 w 306268"/>
                <a:gd name="connsiteY0" fmla="*/ 0 h 306268"/>
                <a:gd name="connsiteX1" fmla="*/ 306269 w 306268"/>
                <a:gd name="connsiteY1" fmla="*/ 0 h 306268"/>
                <a:gd name="connsiteX2" fmla="*/ 306269 w 306268"/>
                <a:gd name="connsiteY2" fmla="*/ 306269 h 306268"/>
                <a:gd name="connsiteX3" fmla="*/ 0 w 306268"/>
                <a:gd name="connsiteY3" fmla="*/ 306269 h 3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268" h="306268">
                  <a:moveTo>
                    <a:pt x="0" y="0"/>
                  </a:moveTo>
                  <a:lnTo>
                    <a:pt x="306269" y="0"/>
                  </a:lnTo>
                  <a:lnTo>
                    <a:pt x="306269" y="306269"/>
                  </a:lnTo>
                  <a:lnTo>
                    <a:pt x="0" y="306269"/>
                  </a:lnTo>
                  <a:close/>
                </a:path>
              </a:pathLst>
            </a:custGeom>
            <a:solidFill>
              <a:schemeClr val="bg1"/>
            </a:solidFill>
            <a:ln w="19050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13" name="Ellipse 12"/>
            <p:cNvSpPr/>
            <p:nvPr/>
          </p:nvSpPr>
          <p:spPr>
            <a:xfrm>
              <a:off x="10020332" y="2436084"/>
              <a:ext cx="217133" cy="268841"/>
            </a:xfrm>
            <a:prstGeom prst="ellipse">
              <a:avLst/>
            </a:prstGeom>
            <a:noFill/>
            <a:ln w="25400">
              <a:solidFill>
                <a:srgbClr val="BFBFBF"/>
              </a:solidFill>
            </a:ln>
          </p:spPr>
          <p:txBody>
            <a:bodyPr wrap="square" rtlCol="0" anchor="ctr">
              <a:spAutoFit/>
            </a:bodyPr>
            <a:lstStyle/>
            <a:p>
              <a:pPr algn="l">
                <a:lnSpc>
                  <a:spcPct val="120000"/>
                </a:lnSpc>
                <a:buSzPct val="90000"/>
              </a:pPr>
              <a:endParaRPr lang="de-DE" sz="1600" b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grpSp>
          <p:nvGrpSpPr>
            <p:cNvPr id="99" name="Gruppieren 98"/>
            <p:cNvGrpSpPr/>
            <p:nvPr/>
          </p:nvGrpSpPr>
          <p:grpSpPr>
            <a:xfrm>
              <a:off x="9849227" y="2749755"/>
              <a:ext cx="557445" cy="930938"/>
              <a:chOff x="10628639" y="1971954"/>
              <a:chExt cx="1004541" cy="1159251"/>
            </a:xfrm>
          </p:grpSpPr>
          <p:cxnSp>
            <p:nvCxnSpPr>
              <p:cNvPr id="17" name="Gerader Verbinder 16"/>
              <p:cNvCxnSpPr/>
              <p:nvPr/>
            </p:nvCxnSpPr>
            <p:spPr>
              <a:xfrm>
                <a:off x="10927377" y="1976571"/>
                <a:ext cx="197763" cy="207899"/>
              </a:xfrm>
              <a:prstGeom prst="line">
                <a:avLst/>
              </a:prstGeom>
              <a:ln w="19050">
                <a:solidFill>
                  <a:srgbClr val="BFBFBF"/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95" name="Gerader Verbinder 94"/>
              <p:cNvCxnSpPr/>
              <p:nvPr/>
            </p:nvCxnSpPr>
            <p:spPr>
              <a:xfrm flipH="1">
                <a:off x="11121534" y="1974842"/>
                <a:ext cx="206728" cy="209628"/>
              </a:xfrm>
              <a:prstGeom prst="line">
                <a:avLst/>
              </a:prstGeom>
              <a:ln w="19050">
                <a:solidFill>
                  <a:srgbClr val="BFBFBF"/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55" name="Bogen 54"/>
              <p:cNvSpPr/>
              <p:nvPr/>
            </p:nvSpPr>
            <p:spPr>
              <a:xfrm>
                <a:off x="11023344" y="1971954"/>
                <a:ext cx="609836" cy="1159251"/>
              </a:xfrm>
              <a:prstGeom prst="arc">
                <a:avLst/>
              </a:prstGeom>
              <a:ln w="19050">
                <a:solidFill>
                  <a:srgbClr val="BFBF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6" name="Bogen 95"/>
              <p:cNvSpPr/>
              <p:nvPr/>
            </p:nvSpPr>
            <p:spPr>
              <a:xfrm flipH="1">
                <a:off x="10628639" y="1971954"/>
                <a:ext cx="586760" cy="1159251"/>
              </a:xfrm>
              <a:prstGeom prst="arc">
                <a:avLst/>
              </a:prstGeom>
              <a:ln w="19050">
                <a:solidFill>
                  <a:srgbClr val="BFBF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58" name="Gerader Verbinder 57"/>
              <p:cNvCxnSpPr>
                <a:stCxn id="96" idx="0"/>
                <a:endCxn id="55" idx="0"/>
              </p:cNvCxnSpPr>
              <p:nvPr/>
            </p:nvCxnSpPr>
            <p:spPr>
              <a:xfrm>
                <a:off x="10922019" y="1971954"/>
                <a:ext cx="406243" cy="0"/>
              </a:xfrm>
              <a:prstGeom prst="line">
                <a:avLst/>
              </a:prstGeom>
              <a:ln w="19050">
                <a:solidFill>
                  <a:srgbClr val="BFBF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91" name="Abgerundetes Rechteck 90"/>
          <p:cNvSpPr/>
          <p:nvPr/>
        </p:nvSpPr>
        <p:spPr>
          <a:xfrm>
            <a:off x="7077832" y="1441241"/>
            <a:ext cx="3657459" cy="405998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 anchor="ctr">
            <a:spAutoFit/>
          </a:bodyPr>
          <a:lstStyle/>
          <a:p>
            <a:pPr algn="l">
              <a:lnSpc>
                <a:spcPct val="120000"/>
              </a:lnSpc>
              <a:buSzPct val="90000"/>
            </a:pP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alculate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git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m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f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42.</a:t>
            </a:r>
          </a:p>
        </p:txBody>
      </p:sp>
      <p:sp>
        <p:nvSpPr>
          <p:cNvPr id="92" name="Abgerundetes Rechteck 91"/>
          <p:cNvSpPr/>
          <p:nvPr/>
        </p:nvSpPr>
        <p:spPr>
          <a:xfrm>
            <a:off x="7039977" y="1888037"/>
            <a:ext cx="3941805" cy="755952"/>
          </a:xfrm>
          <a:prstGeom prst="roundRect">
            <a:avLst/>
          </a:prstGeom>
          <a:solidFill>
            <a:srgbClr val="EFCDBF"/>
          </a:solidFill>
        </p:spPr>
        <p:txBody>
          <a:bodyPr wrap="square" rtlCol="0" anchor="ctr">
            <a:spAutoFit/>
          </a:bodyPr>
          <a:lstStyle/>
          <a:p>
            <a:pPr algn="l">
              <a:lnSpc>
                <a:spcPct val="120000"/>
              </a:lnSpc>
              <a:buSzPct val="90000"/>
            </a:pPr>
            <a:r>
              <a:rPr lang="en-US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ame: “</a:t>
            </a:r>
            <a:r>
              <a:rPr lang="en-US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git_sum</a:t>
            </a:r>
            <a:r>
              <a:rPr lang="en-US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”</a:t>
            </a:r>
          </a:p>
          <a:p>
            <a:pPr algn="l">
              <a:lnSpc>
                <a:spcPct val="120000"/>
              </a:lnSpc>
              <a:buSzPct val="90000"/>
            </a:pPr>
            <a:r>
              <a:rPr lang="en-US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puts: “number: 42”</a:t>
            </a:r>
          </a:p>
        </p:txBody>
      </p:sp>
      <p:sp>
        <p:nvSpPr>
          <p:cNvPr id="93" name="Abgerundetes Rechteck 92"/>
          <p:cNvSpPr/>
          <p:nvPr/>
        </p:nvSpPr>
        <p:spPr>
          <a:xfrm>
            <a:off x="7063977" y="2686173"/>
            <a:ext cx="3657459" cy="405998"/>
          </a:xfrm>
          <a:prstGeom prst="roundRect">
            <a:avLst/>
          </a:prstGeom>
          <a:solidFill>
            <a:srgbClr val="B4E33D"/>
          </a:solidFill>
        </p:spPr>
        <p:txBody>
          <a:bodyPr wrap="square" rtlCol="0" anchor="ctr">
            <a:spAutoFit/>
          </a:bodyPr>
          <a:lstStyle/>
          <a:p>
            <a:pPr algn="l">
              <a:lnSpc>
                <a:spcPct val="120000"/>
              </a:lnSpc>
              <a:buSzPct val="90000"/>
            </a:pPr>
            <a:r>
              <a:rPr lang="en-US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“</a:t>
            </a:r>
            <a:r>
              <a:rPr lang="en-US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git_sum</a:t>
            </a:r>
            <a:r>
              <a:rPr lang="en-US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6”</a:t>
            </a:r>
          </a:p>
        </p:txBody>
      </p:sp>
      <p:sp>
        <p:nvSpPr>
          <p:cNvPr id="94" name="Abgerundetes Rechteck 93"/>
          <p:cNvSpPr/>
          <p:nvPr/>
        </p:nvSpPr>
        <p:spPr>
          <a:xfrm>
            <a:off x="7049875" y="3135549"/>
            <a:ext cx="3941805" cy="405998"/>
          </a:xfrm>
          <a:prstGeom prst="roundRect">
            <a:avLst/>
          </a:prstGeom>
          <a:solidFill>
            <a:schemeClr val="accent6"/>
          </a:solidFill>
        </p:spPr>
        <p:txBody>
          <a:bodyPr wrap="square" rtlCol="0" anchor="ctr">
            <a:spAutoFit/>
          </a:bodyPr>
          <a:lstStyle/>
          <a:p>
            <a:pPr algn="l">
              <a:lnSpc>
                <a:spcPct val="120000"/>
              </a:lnSpc>
              <a:buSzPct val="90000"/>
            </a:pP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git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m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f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42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s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6.</a:t>
            </a:r>
          </a:p>
        </p:txBody>
      </p:sp>
      <p:sp>
        <p:nvSpPr>
          <p:cNvPr id="52" name="Abgerundetes Rechteck 51"/>
          <p:cNvSpPr/>
          <p:nvPr/>
        </p:nvSpPr>
        <p:spPr>
          <a:xfrm>
            <a:off x="7039977" y="3579620"/>
            <a:ext cx="3657459" cy="755952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 anchor="ctr">
            <a:spAutoFit/>
          </a:bodyPr>
          <a:lstStyle/>
          <a:p>
            <a:pPr algn="l">
              <a:lnSpc>
                <a:spcPct val="120000"/>
              </a:lnSpc>
              <a:buSzPct val="90000"/>
            </a:pP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w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ny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tters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re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ord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zweiundvierzig?</a:t>
            </a:r>
          </a:p>
        </p:txBody>
      </p:sp>
      <p:sp>
        <p:nvSpPr>
          <p:cNvPr id="53" name="Abgerundetes Rechteck 52"/>
          <p:cNvSpPr/>
          <p:nvPr/>
        </p:nvSpPr>
        <p:spPr>
          <a:xfrm>
            <a:off x="7047597" y="4356917"/>
            <a:ext cx="3941805" cy="755952"/>
          </a:xfrm>
          <a:prstGeom prst="roundRect">
            <a:avLst/>
          </a:prstGeom>
          <a:solidFill>
            <a:srgbClr val="EFCDBF"/>
          </a:solidFill>
        </p:spPr>
        <p:txBody>
          <a:bodyPr wrap="square" rtlCol="0" anchor="ctr">
            <a:spAutoFit/>
          </a:bodyPr>
          <a:lstStyle/>
          <a:p>
            <a:pPr algn="l">
              <a:lnSpc>
                <a:spcPct val="120000"/>
              </a:lnSpc>
              <a:buSzPct val="90000"/>
            </a:pPr>
            <a:r>
              <a:rPr lang="en-US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ame: “</a:t>
            </a:r>
            <a:r>
              <a:rPr lang="en-US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unt_letters</a:t>
            </a:r>
            <a:r>
              <a:rPr lang="en-US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”</a:t>
            </a:r>
          </a:p>
          <a:p>
            <a:pPr algn="l">
              <a:lnSpc>
                <a:spcPct val="120000"/>
              </a:lnSpc>
              <a:buSzPct val="90000"/>
            </a:pPr>
            <a:r>
              <a:rPr lang="en-US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puts: „word: </a:t>
            </a:r>
            <a:r>
              <a:rPr lang="en-US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zweiundvierzig</a:t>
            </a:r>
            <a:r>
              <a:rPr lang="en-US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“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7079217" y="5143525"/>
            <a:ext cx="3657459" cy="429054"/>
          </a:xfrm>
          <a:prstGeom prst="roundRect">
            <a:avLst/>
          </a:prstGeom>
          <a:solidFill>
            <a:srgbClr val="B4E33D"/>
          </a:solidFill>
        </p:spPr>
        <p:txBody>
          <a:bodyPr wrap="square" rtlCol="0" anchor="ctr">
            <a:spAutoFit/>
          </a:bodyPr>
          <a:lstStyle/>
          <a:p>
            <a:pPr algn="l">
              <a:lnSpc>
                <a:spcPct val="120000"/>
              </a:lnSpc>
              <a:buSzPct val="90000"/>
            </a:pPr>
            <a:r>
              <a:rPr lang="en-US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“</a:t>
            </a:r>
            <a:r>
              <a:rPr lang="en-US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unt_letters</a:t>
            </a:r>
            <a:r>
              <a:rPr lang="en-US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14“</a:t>
            </a:r>
          </a:p>
        </p:txBody>
      </p:sp>
      <p:sp>
        <p:nvSpPr>
          <p:cNvPr id="56" name="Abgerundetes Rechteck 55"/>
          <p:cNvSpPr/>
          <p:nvPr/>
        </p:nvSpPr>
        <p:spPr>
          <a:xfrm>
            <a:off x="7057495" y="5589472"/>
            <a:ext cx="3941805" cy="755952"/>
          </a:xfrm>
          <a:prstGeom prst="roundRect">
            <a:avLst/>
          </a:prstGeom>
          <a:solidFill>
            <a:schemeClr val="accent6"/>
          </a:solidFill>
        </p:spPr>
        <p:txBody>
          <a:bodyPr wrap="square" rtlCol="0" anchor="ctr">
            <a:spAutoFit/>
          </a:bodyPr>
          <a:lstStyle/>
          <a:p>
            <a:pPr algn="l">
              <a:lnSpc>
                <a:spcPct val="120000"/>
              </a:lnSpc>
              <a:buSzPct val="90000"/>
            </a:pPr>
            <a:r>
              <a:rPr lang="en-US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word “</a:t>
            </a:r>
            <a:r>
              <a:rPr lang="en-US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zweiundvierzig</a:t>
            </a:r>
            <a:r>
              <a:rPr lang="en-US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” contains 14 letters.</a:t>
            </a:r>
          </a:p>
        </p:txBody>
      </p:sp>
      <p:grpSp>
        <p:nvGrpSpPr>
          <p:cNvPr id="57" name="Gruppieren 56"/>
          <p:cNvGrpSpPr/>
          <p:nvPr/>
        </p:nvGrpSpPr>
        <p:grpSpPr>
          <a:xfrm>
            <a:off x="2956016" y="1864663"/>
            <a:ext cx="2351606" cy="1725715"/>
            <a:chOff x="2956016" y="1864663"/>
            <a:chExt cx="2351606" cy="1725715"/>
          </a:xfrm>
        </p:grpSpPr>
        <p:grpSp>
          <p:nvGrpSpPr>
            <p:cNvPr id="59" name="Gruppieren 58"/>
            <p:cNvGrpSpPr/>
            <p:nvPr/>
          </p:nvGrpSpPr>
          <p:grpSpPr>
            <a:xfrm>
              <a:off x="3630683" y="2140181"/>
              <a:ext cx="648000" cy="648000"/>
              <a:chOff x="7785990" y="2489744"/>
              <a:chExt cx="408357" cy="408357"/>
            </a:xfrm>
          </p:grpSpPr>
          <p:sp>
            <p:nvSpPr>
              <p:cNvPr id="62" name="Freeform: Shape 374">
                <a:extLst>
                  <a:ext uri="{FF2B5EF4-FFF2-40B4-BE49-F238E27FC236}">
                    <a16:creationId xmlns:a16="http://schemas.microsoft.com/office/drawing/2014/main" id="{4940B74F-2D91-4C50-85F6-16E4769F493C}"/>
                  </a:ext>
                </a:extLst>
              </p:cNvPr>
              <p:cNvSpPr/>
              <p:nvPr/>
            </p:nvSpPr>
            <p:spPr>
              <a:xfrm>
                <a:off x="7785990" y="2489744"/>
                <a:ext cx="408357" cy="408357"/>
              </a:xfrm>
              <a:custGeom>
                <a:avLst/>
                <a:gdLst>
                  <a:gd name="connsiteX0" fmla="*/ 0 w 306268"/>
                  <a:gd name="connsiteY0" fmla="*/ 0 h 306268"/>
                  <a:gd name="connsiteX1" fmla="*/ 306269 w 306268"/>
                  <a:gd name="connsiteY1" fmla="*/ 0 h 306268"/>
                  <a:gd name="connsiteX2" fmla="*/ 306269 w 306268"/>
                  <a:gd name="connsiteY2" fmla="*/ 306269 h 306268"/>
                  <a:gd name="connsiteX3" fmla="*/ 0 w 306268"/>
                  <a:gd name="connsiteY3" fmla="*/ 306269 h 306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6268" h="306268">
                    <a:moveTo>
                      <a:pt x="0" y="0"/>
                    </a:moveTo>
                    <a:lnTo>
                      <a:pt x="306269" y="0"/>
                    </a:lnTo>
                    <a:lnTo>
                      <a:pt x="306269" y="306269"/>
                    </a:lnTo>
                    <a:lnTo>
                      <a:pt x="0" y="306269"/>
                    </a:lnTo>
                    <a:close/>
                  </a:path>
                </a:pathLst>
              </a:custGeom>
              <a:noFill/>
              <a:ln w="19050" cap="flat">
                <a:solidFill>
                  <a:srgbClr val="BFBF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2400" dirty="0">
                  <a:latin typeface="Lato" panose="020F0502020204030203" pitchFamily="34" charset="0"/>
                </a:endParaRPr>
              </a:p>
            </p:txBody>
          </p:sp>
          <p:sp>
            <p:nvSpPr>
              <p:cNvPr id="63" name="Freeform: Shape 375">
                <a:extLst>
                  <a:ext uri="{FF2B5EF4-FFF2-40B4-BE49-F238E27FC236}">
                    <a16:creationId xmlns:a16="http://schemas.microsoft.com/office/drawing/2014/main" id="{14D0997A-9257-4B14-8C8F-0FC6567A3872}"/>
                  </a:ext>
                </a:extLst>
              </p:cNvPr>
              <p:cNvSpPr/>
              <p:nvPr/>
            </p:nvSpPr>
            <p:spPr>
              <a:xfrm>
                <a:off x="7863774" y="2598041"/>
                <a:ext cx="252787" cy="191757"/>
              </a:xfrm>
              <a:custGeom>
                <a:avLst/>
                <a:gdLst>
                  <a:gd name="connsiteX0" fmla="*/ 8569 w 189590"/>
                  <a:gd name="connsiteY0" fmla="*/ 13392 h 143818"/>
                  <a:gd name="connsiteX1" fmla="*/ 36082 w 189590"/>
                  <a:gd name="connsiteY1" fmla="*/ 7017 h 143818"/>
                  <a:gd name="connsiteX2" fmla="*/ 94783 w 189590"/>
                  <a:gd name="connsiteY2" fmla="*/ 11896 h 143818"/>
                  <a:gd name="connsiteX3" fmla="*/ 153524 w 189590"/>
                  <a:gd name="connsiteY3" fmla="*/ 7017 h 143818"/>
                  <a:gd name="connsiteX4" fmla="*/ 181659 w 189590"/>
                  <a:gd name="connsiteY4" fmla="*/ 13320 h 143818"/>
                  <a:gd name="connsiteX5" fmla="*/ 189533 w 189590"/>
                  <a:gd name="connsiteY5" fmla="*/ 19922 h 143818"/>
                  <a:gd name="connsiteX6" fmla="*/ 189552 w 189590"/>
                  <a:gd name="connsiteY6" fmla="*/ 20559 h 143818"/>
                  <a:gd name="connsiteX7" fmla="*/ 189590 w 189590"/>
                  <a:gd name="connsiteY7" fmla="*/ 20559 h 143818"/>
                  <a:gd name="connsiteX8" fmla="*/ 189590 w 189590"/>
                  <a:gd name="connsiteY8" fmla="*/ 136383 h 143818"/>
                  <a:gd name="connsiteX9" fmla="*/ 182368 w 189590"/>
                  <a:gd name="connsiteY9" fmla="*/ 143658 h 143818"/>
                  <a:gd name="connsiteX10" fmla="*/ 182366 w 189590"/>
                  <a:gd name="connsiteY10" fmla="*/ 143658 h 143818"/>
                  <a:gd name="connsiteX11" fmla="*/ 182240 w 189590"/>
                  <a:gd name="connsiteY11" fmla="*/ 143658 h 143818"/>
                  <a:gd name="connsiteX12" fmla="*/ 147544 w 189590"/>
                  <a:gd name="connsiteY12" fmla="*/ 136122 h 143818"/>
                  <a:gd name="connsiteX13" fmla="*/ 98817 w 189590"/>
                  <a:gd name="connsiteY13" fmla="*/ 142460 h 143818"/>
                  <a:gd name="connsiteX14" fmla="*/ 90790 w 189590"/>
                  <a:gd name="connsiteY14" fmla="*/ 142460 h 143818"/>
                  <a:gd name="connsiteX15" fmla="*/ 42066 w 189590"/>
                  <a:gd name="connsiteY15" fmla="*/ 136122 h 143818"/>
                  <a:gd name="connsiteX16" fmla="*/ 6676 w 189590"/>
                  <a:gd name="connsiteY16" fmla="*/ 143624 h 143818"/>
                  <a:gd name="connsiteX17" fmla="*/ 34 w 189590"/>
                  <a:gd name="connsiteY17" fmla="*/ 136385 h 143818"/>
                  <a:gd name="connsiteX18" fmla="*/ 0 w 189590"/>
                  <a:gd name="connsiteY18" fmla="*/ 136385 h 143818"/>
                  <a:gd name="connsiteX19" fmla="*/ 0 w 189590"/>
                  <a:gd name="connsiteY19" fmla="*/ 20561 h 143818"/>
                  <a:gd name="connsiteX20" fmla="*/ 7294 w 189590"/>
                  <a:gd name="connsiteY20" fmla="*/ 13245 h 143818"/>
                  <a:gd name="connsiteX21" fmla="*/ 8570 w 189590"/>
                  <a:gd name="connsiteY21" fmla="*/ 13395 h 143818"/>
                  <a:gd name="connsiteX22" fmla="*/ 166303 w 189590"/>
                  <a:gd name="connsiteY22" fmla="*/ 62457 h 143818"/>
                  <a:gd name="connsiteX23" fmla="*/ 166303 w 189590"/>
                  <a:gd name="connsiteY23" fmla="*/ 62457 h 143818"/>
                  <a:gd name="connsiteX24" fmla="*/ 152349 w 189590"/>
                  <a:gd name="connsiteY24" fmla="*/ 57130 h 143818"/>
                  <a:gd name="connsiteX25" fmla="*/ 110243 w 189590"/>
                  <a:gd name="connsiteY25" fmla="*/ 54653 h 143818"/>
                  <a:gd name="connsiteX26" fmla="*/ 107821 w 189590"/>
                  <a:gd name="connsiteY26" fmla="*/ 60311 h 143818"/>
                  <a:gd name="connsiteX27" fmla="*/ 113479 w 189590"/>
                  <a:gd name="connsiteY27" fmla="*/ 62734 h 143818"/>
                  <a:gd name="connsiteX28" fmla="*/ 113524 w 189590"/>
                  <a:gd name="connsiteY28" fmla="*/ 62715 h 143818"/>
                  <a:gd name="connsiteX29" fmla="*/ 148726 w 189590"/>
                  <a:gd name="connsiteY29" fmla="*/ 65117 h 143818"/>
                  <a:gd name="connsiteX30" fmla="*/ 164144 w 189590"/>
                  <a:gd name="connsiteY30" fmla="*/ 70927 h 143818"/>
                  <a:gd name="connsiteX31" fmla="*/ 169474 w 189590"/>
                  <a:gd name="connsiteY31" fmla="*/ 67787 h 143818"/>
                  <a:gd name="connsiteX32" fmla="*/ 166333 w 189590"/>
                  <a:gd name="connsiteY32" fmla="*/ 62458 h 143818"/>
                  <a:gd name="connsiteX33" fmla="*/ 166303 w 189590"/>
                  <a:gd name="connsiteY33" fmla="*/ 62450 h 143818"/>
                  <a:gd name="connsiteX34" fmla="*/ 166303 w 189590"/>
                  <a:gd name="connsiteY34" fmla="*/ 83836 h 143818"/>
                  <a:gd name="connsiteX35" fmla="*/ 166303 w 189590"/>
                  <a:gd name="connsiteY35" fmla="*/ 83836 h 143818"/>
                  <a:gd name="connsiteX36" fmla="*/ 152349 w 189590"/>
                  <a:gd name="connsiteY36" fmla="*/ 78548 h 143818"/>
                  <a:gd name="connsiteX37" fmla="*/ 110243 w 189590"/>
                  <a:gd name="connsiteY37" fmla="*/ 76035 h 143818"/>
                  <a:gd name="connsiteX38" fmla="*/ 107906 w 189590"/>
                  <a:gd name="connsiteY38" fmla="*/ 81731 h 143818"/>
                  <a:gd name="connsiteX39" fmla="*/ 113524 w 189590"/>
                  <a:gd name="connsiteY39" fmla="*/ 84101 h 143818"/>
                  <a:gd name="connsiteX40" fmla="*/ 148726 w 189590"/>
                  <a:gd name="connsiteY40" fmla="*/ 86502 h 143818"/>
                  <a:gd name="connsiteX41" fmla="*/ 164145 w 189590"/>
                  <a:gd name="connsiteY41" fmla="*/ 92312 h 143818"/>
                  <a:gd name="connsiteX42" fmla="*/ 169474 w 189590"/>
                  <a:gd name="connsiteY42" fmla="*/ 89172 h 143818"/>
                  <a:gd name="connsiteX43" fmla="*/ 166334 w 189590"/>
                  <a:gd name="connsiteY43" fmla="*/ 83843 h 143818"/>
                  <a:gd name="connsiteX44" fmla="*/ 166303 w 189590"/>
                  <a:gd name="connsiteY44" fmla="*/ 83835 h 143818"/>
                  <a:gd name="connsiteX45" fmla="*/ 166303 w 189590"/>
                  <a:gd name="connsiteY45" fmla="*/ 105253 h 143818"/>
                  <a:gd name="connsiteX46" fmla="*/ 166303 w 189590"/>
                  <a:gd name="connsiteY46" fmla="*/ 105253 h 143818"/>
                  <a:gd name="connsiteX47" fmla="*/ 152349 w 189590"/>
                  <a:gd name="connsiteY47" fmla="*/ 99929 h 143818"/>
                  <a:gd name="connsiteX48" fmla="*/ 110243 w 189590"/>
                  <a:gd name="connsiteY48" fmla="*/ 97412 h 143818"/>
                  <a:gd name="connsiteX49" fmla="*/ 107862 w 189590"/>
                  <a:gd name="connsiteY49" fmla="*/ 103117 h 143818"/>
                  <a:gd name="connsiteX50" fmla="*/ 113470 w 189590"/>
                  <a:gd name="connsiteY50" fmla="*/ 105498 h 143818"/>
                  <a:gd name="connsiteX51" fmla="*/ 113524 w 189590"/>
                  <a:gd name="connsiteY51" fmla="*/ 105475 h 143818"/>
                  <a:gd name="connsiteX52" fmla="*/ 148726 w 189590"/>
                  <a:gd name="connsiteY52" fmla="*/ 107876 h 143818"/>
                  <a:gd name="connsiteX53" fmla="*/ 164145 w 189590"/>
                  <a:gd name="connsiteY53" fmla="*/ 113730 h 143818"/>
                  <a:gd name="connsiteX54" fmla="*/ 169472 w 189590"/>
                  <a:gd name="connsiteY54" fmla="*/ 110538 h 143818"/>
                  <a:gd name="connsiteX55" fmla="*/ 166341 w 189590"/>
                  <a:gd name="connsiteY55" fmla="*/ 105259 h 143818"/>
                  <a:gd name="connsiteX56" fmla="*/ 166303 w 189590"/>
                  <a:gd name="connsiteY56" fmla="*/ 105249 h 143818"/>
                  <a:gd name="connsiteX57" fmla="*/ 166303 w 189590"/>
                  <a:gd name="connsiteY57" fmla="*/ 41074 h 143818"/>
                  <a:gd name="connsiteX58" fmla="*/ 166303 w 189590"/>
                  <a:gd name="connsiteY58" fmla="*/ 41074 h 143818"/>
                  <a:gd name="connsiteX59" fmla="*/ 152349 w 189590"/>
                  <a:gd name="connsiteY59" fmla="*/ 35750 h 143818"/>
                  <a:gd name="connsiteX60" fmla="*/ 110243 w 189590"/>
                  <a:gd name="connsiteY60" fmla="*/ 33273 h 143818"/>
                  <a:gd name="connsiteX61" fmla="*/ 107906 w 189590"/>
                  <a:gd name="connsiteY61" fmla="*/ 38970 h 143818"/>
                  <a:gd name="connsiteX62" fmla="*/ 113524 w 189590"/>
                  <a:gd name="connsiteY62" fmla="*/ 41339 h 143818"/>
                  <a:gd name="connsiteX63" fmla="*/ 148726 w 189590"/>
                  <a:gd name="connsiteY63" fmla="*/ 43740 h 143818"/>
                  <a:gd name="connsiteX64" fmla="*/ 164145 w 189590"/>
                  <a:gd name="connsiteY64" fmla="*/ 49555 h 143818"/>
                  <a:gd name="connsiteX65" fmla="*/ 169506 w 189590"/>
                  <a:gd name="connsiteY65" fmla="*/ 46463 h 143818"/>
                  <a:gd name="connsiteX66" fmla="*/ 166415 w 189590"/>
                  <a:gd name="connsiteY66" fmla="*/ 41102 h 143818"/>
                  <a:gd name="connsiteX67" fmla="*/ 166362 w 189590"/>
                  <a:gd name="connsiteY67" fmla="*/ 41089 h 143818"/>
                  <a:gd name="connsiteX68" fmla="*/ 166303 w 189590"/>
                  <a:gd name="connsiteY68" fmla="*/ 41073 h 143818"/>
                  <a:gd name="connsiteX69" fmla="*/ 25435 w 189590"/>
                  <a:gd name="connsiteY69" fmla="*/ 70934 h 143818"/>
                  <a:gd name="connsiteX70" fmla="*/ 25435 w 189590"/>
                  <a:gd name="connsiteY70" fmla="*/ 70934 h 143818"/>
                  <a:gd name="connsiteX71" fmla="*/ 40865 w 189590"/>
                  <a:gd name="connsiteY71" fmla="*/ 65124 h 143818"/>
                  <a:gd name="connsiteX72" fmla="*/ 76068 w 189590"/>
                  <a:gd name="connsiteY72" fmla="*/ 62723 h 143818"/>
                  <a:gd name="connsiteX73" fmla="*/ 81714 w 189590"/>
                  <a:gd name="connsiteY73" fmla="*/ 60257 h 143818"/>
                  <a:gd name="connsiteX74" fmla="*/ 79371 w 189590"/>
                  <a:gd name="connsiteY74" fmla="*/ 54661 h 143818"/>
                  <a:gd name="connsiteX75" fmla="*/ 37248 w 189590"/>
                  <a:gd name="connsiteY75" fmla="*/ 57137 h 143818"/>
                  <a:gd name="connsiteX76" fmla="*/ 23274 w 189590"/>
                  <a:gd name="connsiteY76" fmla="*/ 62465 h 143818"/>
                  <a:gd name="connsiteX77" fmla="*/ 20095 w 189590"/>
                  <a:gd name="connsiteY77" fmla="*/ 67771 h 143818"/>
                  <a:gd name="connsiteX78" fmla="*/ 25401 w 189590"/>
                  <a:gd name="connsiteY78" fmla="*/ 70950 h 143818"/>
                  <a:gd name="connsiteX79" fmla="*/ 25432 w 189590"/>
                  <a:gd name="connsiteY79" fmla="*/ 70942 h 143818"/>
                  <a:gd name="connsiteX80" fmla="*/ 25435 w 189590"/>
                  <a:gd name="connsiteY80" fmla="*/ 92313 h 143818"/>
                  <a:gd name="connsiteX81" fmla="*/ 25435 w 189590"/>
                  <a:gd name="connsiteY81" fmla="*/ 92313 h 143818"/>
                  <a:gd name="connsiteX82" fmla="*/ 40865 w 189590"/>
                  <a:gd name="connsiteY82" fmla="*/ 86503 h 143818"/>
                  <a:gd name="connsiteX83" fmla="*/ 76068 w 189590"/>
                  <a:gd name="connsiteY83" fmla="*/ 84102 h 143818"/>
                  <a:gd name="connsiteX84" fmla="*/ 81711 w 189590"/>
                  <a:gd name="connsiteY84" fmla="*/ 81622 h 143818"/>
                  <a:gd name="connsiteX85" fmla="*/ 79371 w 189590"/>
                  <a:gd name="connsiteY85" fmla="*/ 76036 h 143818"/>
                  <a:gd name="connsiteX86" fmla="*/ 37248 w 189590"/>
                  <a:gd name="connsiteY86" fmla="*/ 78548 h 143818"/>
                  <a:gd name="connsiteX87" fmla="*/ 23274 w 189590"/>
                  <a:gd name="connsiteY87" fmla="*/ 83837 h 143818"/>
                  <a:gd name="connsiteX88" fmla="*/ 20095 w 189590"/>
                  <a:gd name="connsiteY88" fmla="*/ 89143 h 143818"/>
                  <a:gd name="connsiteX89" fmla="*/ 25401 w 189590"/>
                  <a:gd name="connsiteY89" fmla="*/ 92322 h 143818"/>
                  <a:gd name="connsiteX90" fmla="*/ 25432 w 189590"/>
                  <a:gd name="connsiteY90" fmla="*/ 92314 h 143818"/>
                  <a:gd name="connsiteX91" fmla="*/ 25473 w 189590"/>
                  <a:gd name="connsiteY91" fmla="*/ 113735 h 143818"/>
                  <a:gd name="connsiteX92" fmla="*/ 25473 w 189590"/>
                  <a:gd name="connsiteY92" fmla="*/ 113735 h 143818"/>
                  <a:gd name="connsiteX93" fmla="*/ 40867 w 189590"/>
                  <a:gd name="connsiteY93" fmla="*/ 107881 h 143818"/>
                  <a:gd name="connsiteX94" fmla="*/ 76110 w 189590"/>
                  <a:gd name="connsiteY94" fmla="*/ 105481 h 143818"/>
                  <a:gd name="connsiteX95" fmla="*/ 81739 w 189590"/>
                  <a:gd name="connsiteY95" fmla="*/ 103160 h 143818"/>
                  <a:gd name="connsiteX96" fmla="*/ 81739 w 189590"/>
                  <a:gd name="connsiteY96" fmla="*/ 103160 h 143818"/>
                  <a:gd name="connsiteX97" fmla="*/ 81756 w 189590"/>
                  <a:gd name="connsiteY97" fmla="*/ 103118 h 143818"/>
                  <a:gd name="connsiteX98" fmla="*/ 79375 w 189590"/>
                  <a:gd name="connsiteY98" fmla="*/ 97415 h 143818"/>
                  <a:gd name="connsiteX99" fmla="*/ 37251 w 189590"/>
                  <a:gd name="connsiteY99" fmla="*/ 99931 h 143818"/>
                  <a:gd name="connsiteX100" fmla="*/ 23277 w 189590"/>
                  <a:gd name="connsiteY100" fmla="*/ 105256 h 143818"/>
                  <a:gd name="connsiteX101" fmla="*/ 20128 w 189590"/>
                  <a:gd name="connsiteY101" fmla="*/ 110544 h 143818"/>
                  <a:gd name="connsiteX102" fmla="*/ 25474 w 189590"/>
                  <a:gd name="connsiteY102" fmla="*/ 113736 h 143818"/>
                  <a:gd name="connsiteX103" fmla="*/ 25473 w 189590"/>
                  <a:gd name="connsiteY103" fmla="*/ 49556 h 143818"/>
                  <a:gd name="connsiteX104" fmla="*/ 25473 w 189590"/>
                  <a:gd name="connsiteY104" fmla="*/ 49556 h 143818"/>
                  <a:gd name="connsiteX105" fmla="*/ 40867 w 189590"/>
                  <a:gd name="connsiteY105" fmla="*/ 43741 h 143818"/>
                  <a:gd name="connsiteX106" fmla="*/ 76110 w 189590"/>
                  <a:gd name="connsiteY106" fmla="*/ 41340 h 143818"/>
                  <a:gd name="connsiteX107" fmla="*/ 81751 w 189590"/>
                  <a:gd name="connsiteY107" fmla="*/ 38883 h 143818"/>
                  <a:gd name="connsiteX108" fmla="*/ 79375 w 189590"/>
                  <a:gd name="connsiteY108" fmla="*/ 33274 h 143818"/>
                  <a:gd name="connsiteX109" fmla="*/ 37251 w 189590"/>
                  <a:gd name="connsiteY109" fmla="*/ 35751 h 143818"/>
                  <a:gd name="connsiteX110" fmla="*/ 23278 w 189590"/>
                  <a:gd name="connsiteY110" fmla="*/ 41074 h 143818"/>
                  <a:gd name="connsiteX111" fmla="*/ 19943 w 189590"/>
                  <a:gd name="connsiteY111" fmla="*/ 46297 h 143818"/>
                  <a:gd name="connsiteX112" fmla="*/ 25165 w 189590"/>
                  <a:gd name="connsiteY112" fmla="*/ 49632 h 143818"/>
                  <a:gd name="connsiteX113" fmla="*/ 25474 w 189590"/>
                  <a:gd name="connsiteY113" fmla="*/ 49552 h 143818"/>
                  <a:gd name="connsiteX114" fmla="*/ 99177 w 189590"/>
                  <a:gd name="connsiteY114" fmla="*/ 26373 h 143818"/>
                  <a:gd name="connsiteX115" fmla="*/ 99177 w 189590"/>
                  <a:gd name="connsiteY115" fmla="*/ 26373 h 143818"/>
                  <a:gd name="connsiteX116" fmla="*/ 99177 w 189590"/>
                  <a:gd name="connsiteY116" fmla="*/ 125174 h 143818"/>
                  <a:gd name="connsiteX117" fmla="*/ 153528 w 189590"/>
                  <a:gd name="connsiteY117" fmla="*/ 122851 h 143818"/>
                  <a:gd name="connsiteX118" fmla="*/ 175022 w 189590"/>
                  <a:gd name="connsiteY118" fmla="*/ 129262 h 143818"/>
                  <a:gd name="connsiteX119" fmla="*/ 175022 w 189590"/>
                  <a:gd name="connsiteY119" fmla="*/ 27987 h 143818"/>
                  <a:gd name="connsiteX120" fmla="*/ 147547 w 189590"/>
                  <a:gd name="connsiteY120" fmla="*/ 20298 h 143818"/>
                  <a:gd name="connsiteX121" fmla="*/ 99177 w 189590"/>
                  <a:gd name="connsiteY121" fmla="*/ 26374 h 143818"/>
                  <a:gd name="connsiteX122" fmla="*/ 90439 w 189590"/>
                  <a:gd name="connsiteY122" fmla="*/ 125174 h 143818"/>
                  <a:gd name="connsiteX123" fmla="*/ 90439 w 189590"/>
                  <a:gd name="connsiteY123" fmla="*/ 125174 h 143818"/>
                  <a:gd name="connsiteX124" fmla="*/ 90439 w 189590"/>
                  <a:gd name="connsiteY124" fmla="*/ 26373 h 143818"/>
                  <a:gd name="connsiteX125" fmla="*/ 42070 w 189590"/>
                  <a:gd name="connsiteY125" fmla="*/ 20297 h 143818"/>
                  <a:gd name="connsiteX126" fmla="*/ 14576 w 189590"/>
                  <a:gd name="connsiteY126" fmla="*/ 27985 h 143818"/>
                  <a:gd name="connsiteX127" fmla="*/ 14576 w 189590"/>
                  <a:gd name="connsiteY127" fmla="*/ 129264 h 143818"/>
                  <a:gd name="connsiteX128" fmla="*/ 36086 w 189590"/>
                  <a:gd name="connsiteY128" fmla="*/ 122853 h 143818"/>
                  <a:gd name="connsiteX129" fmla="*/ 90439 w 189590"/>
                  <a:gd name="connsiteY129" fmla="*/ 125176 h 143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</a:cxnLst>
                <a:rect l="l" t="t" r="r" b="b"/>
                <a:pathLst>
                  <a:path w="189590" h="143818">
                    <a:moveTo>
                      <a:pt x="8569" y="13392"/>
                    </a:moveTo>
                    <a:cubicBezTo>
                      <a:pt x="18150" y="13819"/>
                      <a:pt x="27665" y="11615"/>
                      <a:pt x="36082" y="7017"/>
                    </a:cubicBezTo>
                    <a:cubicBezTo>
                      <a:pt x="54721" y="-3891"/>
                      <a:pt x="78200" y="-1940"/>
                      <a:pt x="94783" y="11896"/>
                    </a:cubicBezTo>
                    <a:cubicBezTo>
                      <a:pt x="111381" y="-1941"/>
                      <a:pt x="134871" y="-3892"/>
                      <a:pt x="153524" y="7017"/>
                    </a:cubicBezTo>
                    <a:cubicBezTo>
                      <a:pt x="162119" y="11731"/>
                      <a:pt x="171874" y="13916"/>
                      <a:pt x="181659" y="13320"/>
                    </a:cubicBezTo>
                    <a:cubicBezTo>
                      <a:pt x="185654" y="12977"/>
                      <a:pt x="189174" y="15929"/>
                      <a:pt x="189533" y="19922"/>
                    </a:cubicBezTo>
                    <a:lnTo>
                      <a:pt x="189552" y="20559"/>
                    </a:lnTo>
                    <a:lnTo>
                      <a:pt x="189590" y="20559"/>
                    </a:lnTo>
                    <a:lnTo>
                      <a:pt x="189590" y="136383"/>
                    </a:lnTo>
                    <a:cubicBezTo>
                      <a:pt x="189605" y="140387"/>
                      <a:pt x="186371" y="143643"/>
                      <a:pt x="182368" y="143658"/>
                    </a:cubicBezTo>
                    <a:cubicBezTo>
                      <a:pt x="182367" y="143658"/>
                      <a:pt x="182366" y="143658"/>
                      <a:pt x="182366" y="143658"/>
                    </a:cubicBezTo>
                    <a:lnTo>
                      <a:pt x="182240" y="143658"/>
                    </a:lnTo>
                    <a:cubicBezTo>
                      <a:pt x="170194" y="144496"/>
                      <a:pt x="158158" y="141882"/>
                      <a:pt x="147544" y="136122"/>
                    </a:cubicBezTo>
                    <a:cubicBezTo>
                      <a:pt x="135314" y="130607"/>
                      <a:pt x="124249" y="125578"/>
                      <a:pt x="98817" y="142460"/>
                    </a:cubicBezTo>
                    <a:cubicBezTo>
                      <a:pt x="96384" y="144073"/>
                      <a:pt x="93223" y="144073"/>
                      <a:pt x="90790" y="142460"/>
                    </a:cubicBezTo>
                    <a:cubicBezTo>
                      <a:pt x="65358" y="125578"/>
                      <a:pt x="54293" y="130607"/>
                      <a:pt x="42066" y="136122"/>
                    </a:cubicBezTo>
                    <a:cubicBezTo>
                      <a:pt x="31238" y="141978"/>
                      <a:pt x="18949" y="144583"/>
                      <a:pt x="6676" y="143624"/>
                    </a:cubicBezTo>
                    <a:cubicBezTo>
                      <a:pt x="2920" y="143300"/>
                      <a:pt x="35" y="140156"/>
                      <a:pt x="34" y="136385"/>
                    </a:cubicBezTo>
                    <a:lnTo>
                      <a:pt x="0" y="136385"/>
                    </a:lnTo>
                    <a:lnTo>
                      <a:pt x="0" y="20561"/>
                    </a:lnTo>
                    <a:cubicBezTo>
                      <a:pt x="10" y="16533"/>
                      <a:pt x="3266" y="13267"/>
                      <a:pt x="7294" y="13245"/>
                    </a:cubicBezTo>
                    <a:cubicBezTo>
                      <a:pt x="7723" y="13259"/>
                      <a:pt x="8150" y="13309"/>
                      <a:pt x="8570" y="13395"/>
                    </a:cubicBezTo>
                    <a:close/>
                    <a:moveTo>
                      <a:pt x="166303" y="62457"/>
                    </a:moveTo>
                    <a:lnTo>
                      <a:pt x="166303" y="62457"/>
                    </a:lnTo>
                    <a:cubicBezTo>
                      <a:pt x="161496" y="61120"/>
                      <a:pt x="156824" y="59336"/>
                      <a:pt x="152349" y="57130"/>
                    </a:cubicBezTo>
                    <a:cubicBezTo>
                      <a:pt x="139562" y="49472"/>
                      <a:pt x="123840" y="48547"/>
                      <a:pt x="110243" y="54653"/>
                    </a:cubicBezTo>
                    <a:cubicBezTo>
                      <a:pt x="108012" y="55547"/>
                      <a:pt x="106927" y="58080"/>
                      <a:pt x="107821" y="60311"/>
                    </a:cubicBezTo>
                    <a:cubicBezTo>
                      <a:pt x="108714" y="62542"/>
                      <a:pt x="111247" y="63627"/>
                      <a:pt x="113479" y="62734"/>
                    </a:cubicBezTo>
                    <a:cubicBezTo>
                      <a:pt x="113494" y="62728"/>
                      <a:pt x="113509" y="62722"/>
                      <a:pt x="113524" y="62715"/>
                    </a:cubicBezTo>
                    <a:cubicBezTo>
                      <a:pt x="124951" y="57752"/>
                      <a:pt x="138078" y="58647"/>
                      <a:pt x="148726" y="65117"/>
                    </a:cubicBezTo>
                    <a:cubicBezTo>
                      <a:pt x="153681" y="67512"/>
                      <a:pt x="158841" y="69457"/>
                      <a:pt x="164144" y="70927"/>
                    </a:cubicBezTo>
                    <a:cubicBezTo>
                      <a:pt x="166483" y="71531"/>
                      <a:pt x="168869" y="70126"/>
                      <a:pt x="169474" y="67787"/>
                    </a:cubicBezTo>
                    <a:cubicBezTo>
                      <a:pt x="170078" y="65448"/>
                      <a:pt x="168672" y="63062"/>
                      <a:pt x="166333" y="62458"/>
                    </a:cubicBezTo>
                    <a:cubicBezTo>
                      <a:pt x="166323" y="62455"/>
                      <a:pt x="166313" y="62452"/>
                      <a:pt x="166303" y="62450"/>
                    </a:cubicBezTo>
                    <a:close/>
                    <a:moveTo>
                      <a:pt x="166303" y="83836"/>
                    </a:moveTo>
                    <a:lnTo>
                      <a:pt x="166303" y="83836"/>
                    </a:lnTo>
                    <a:cubicBezTo>
                      <a:pt x="161508" y="82478"/>
                      <a:pt x="156839" y="80709"/>
                      <a:pt x="152349" y="78548"/>
                    </a:cubicBezTo>
                    <a:cubicBezTo>
                      <a:pt x="139574" y="70858"/>
                      <a:pt x="123842" y="69919"/>
                      <a:pt x="110243" y="76035"/>
                    </a:cubicBezTo>
                    <a:cubicBezTo>
                      <a:pt x="108025" y="76963"/>
                      <a:pt x="106978" y="79513"/>
                      <a:pt x="107906" y="81731"/>
                    </a:cubicBezTo>
                    <a:cubicBezTo>
                      <a:pt x="108821" y="83919"/>
                      <a:pt x="111318" y="84972"/>
                      <a:pt x="113524" y="84101"/>
                    </a:cubicBezTo>
                    <a:cubicBezTo>
                      <a:pt x="124951" y="79134"/>
                      <a:pt x="138079" y="80030"/>
                      <a:pt x="148726" y="86502"/>
                    </a:cubicBezTo>
                    <a:cubicBezTo>
                      <a:pt x="153681" y="88897"/>
                      <a:pt x="158841" y="90841"/>
                      <a:pt x="164145" y="92312"/>
                    </a:cubicBezTo>
                    <a:cubicBezTo>
                      <a:pt x="166483" y="92917"/>
                      <a:pt x="168869" y="91511"/>
                      <a:pt x="169474" y="89172"/>
                    </a:cubicBezTo>
                    <a:cubicBezTo>
                      <a:pt x="170079" y="86833"/>
                      <a:pt x="168673" y="84447"/>
                      <a:pt x="166334" y="83843"/>
                    </a:cubicBezTo>
                    <a:cubicBezTo>
                      <a:pt x="166324" y="83840"/>
                      <a:pt x="166313" y="83838"/>
                      <a:pt x="166303" y="83835"/>
                    </a:cubicBezTo>
                    <a:close/>
                    <a:moveTo>
                      <a:pt x="166303" y="105253"/>
                    </a:moveTo>
                    <a:lnTo>
                      <a:pt x="166303" y="105253"/>
                    </a:lnTo>
                    <a:cubicBezTo>
                      <a:pt x="161506" y="103884"/>
                      <a:pt x="156838" y="102103"/>
                      <a:pt x="152349" y="99929"/>
                    </a:cubicBezTo>
                    <a:cubicBezTo>
                      <a:pt x="139569" y="92256"/>
                      <a:pt x="123846" y="91316"/>
                      <a:pt x="110243" y="97412"/>
                    </a:cubicBezTo>
                    <a:cubicBezTo>
                      <a:pt x="108012" y="98331"/>
                      <a:pt x="106946" y="100884"/>
                      <a:pt x="107862" y="103117"/>
                    </a:cubicBezTo>
                    <a:cubicBezTo>
                      <a:pt x="108754" y="105322"/>
                      <a:pt x="111264" y="106388"/>
                      <a:pt x="113470" y="105498"/>
                    </a:cubicBezTo>
                    <a:lnTo>
                      <a:pt x="113524" y="105475"/>
                    </a:lnTo>
                    <a:cubicBezTo>
                      <a:pt x="124952" y="100511"/>
                      <a:pt x="138078" y="101407"/>
                      <a:pt x="148726" y="107876"/>
                    </a:cubicBezTo>
                    <a:cubicBezTo>
                      <a:pt x="153686" y="110271"/>
                      <a:pt x="158845" y="112229"/>
                      <a:pt x="164145" y="113730"/>
                    </a:cubicBezTo>
                    <a:cubicBezTo>
                      <a:pt x="166494" y="114302"/>
                      <a:pt x="168868" y="112880"/>
                      <a:pt x="169472" y="110538"/>
                    </a:cubicBezTo>
                    <a:cubicBezTo>
                      <a:pt x="170065" y="108216"/>
                      <a:pt x="168664" y="105852"/>
                      <a:pt x="166341" y="105259"/>
                    </a:cubicBezTo>
                    <a:lnTo>
                      <a:pt x="166303" y="105249"/>
                    </a:lnTo>
                    <a:close/>
                    <a:moveTo>
                      <a:pt x="166303" y="41074"/>
                    </a:moveTo>
                    <a:lnTo>
                      <a:pt x="166303" y="41074"/>
                    </a:lnTo>
                    <a:cubicBezTo>
                      <a:pt x="161506" y="39705"/>
                      <a:pt x="156838" y="37924"/>
                      <a:pt x="152349" y="35750"/>
                    </a:cubicBezTo>
                    <a:cubicBezTo>
                      <a:pt x="139562" y="28091"/>
                      <a:pt x="123839" y="27166"/>
                      <a:pt x="110243" y="33273"/>
                    </a:cubicBezTo>
                    <a:cubicBezTo>
                      <a:pt x="108025" y="34201"/>
                      <a:pt x="106978" y="36752"/>
                      <a:pt x="107906" y="38970"/>
                    </a:cubicBezTo>
                    <a:cubicBezTo>
                      <a:pt x="108821" y="41158"/>
                      <a:pt x="111318" y="42211"/>
                      <a:pt x="113524" y="41339"/>
                    </a:cubicBezTo>
                    <a:cubicBezTo>
                      <a:pt x="124948" y="36354"/>
                      <a:pt x="138085" y="37249"/>
                      <a:pt x="148726" y="43740"/>
                    </a:cubicBezTo>
                    <a:cubicBezTo>
                      <a:pt x="153688" y="46120"/>
                      <a:pt x="158847" y="48066"/>
                      <a:pt x="164145" y="49555"/>
                    </a:cubicBezTo>
                    <a:cubicBezTo>
                      <a:pt x="166479" y="50181"/>
                      <a:pt x="168879" y="48797"/>
                      <a:pt x="169506" y="46463"/>
                    </a:cubicBezTo>
                    <a:cubicBezTo>
                      <a:pt x="170132" y="44129"/>
                      <a:pt x="168748" y="41729"/>
                      <a:pt x="166415" y="41102"/>
                    </a:cubicBezTo>
                    <a:cubicBezTo>
                      <a:pt x="166397" y="41098"/>
                      <a:pt x="166380" y="41093"/>
                      <a:pt x="166362" y="41089"/>
                    </a:cubicBezTo>
                    <a:lnTo>
                      <a:pt x="166303" y="41073"/>
                    </a:lnTo>
                    <a:close/>
                    <a:moveTo>
                      <a:pt x="25435" y="70934"/>
                    </a:moveTo>
                    <a:lnTo>
                      <a:pt x="25435" y="70934"/>
                    </a:lnTo>
                    <a:cubicBezTo>
                      <a:pt x="30742" y="69464"/>
                      <a:pt x="35907" y="67520"/>
                      <a:pt x="40865" y="65124"/>
                    </a:cubicBezTo>
                    <a:cubicBezTo>
                      <a:pt x="51513" y="58655"/>
                      <a:pt x="64640" y="57759"/>
                      <a:pt x="76068" y="62723"/>
                    </a:cubicBezTo>
                    <a:cubicBezTo>
                      <a:pt x="78308" y="63601"/>
                      <a:pt x="80836" y="62497"/>
                      <a:pt x="81714" y="60257"/>
                    </a:cubicBezTo>
                    <a:cubicBezTo>
                      <a:pt x="82573" y="58065"/>
                      <a:pt x="81535" y="55587"/>
                      <a:pt x="79371" y="54661"/>
                    </a:cubicBezTo>
                    <a:cubicBezTo>
                      <a:pt x="65769" y="48554"/>
                      <a:pt x="50041" y="49478"/>
                      <a:pt x="37248" y="57137"/>
                    </a:cubicBezTo>
                    <a:cubicBezTo>
                      <a:pt x="32765" y="59342"/>
                      <a:pt x="28086" y="61125"/>
                      <a:pt x="23274" y="62465"/>
                    </a:cubicBezTo>
                    <a:cubicBezTo>
                      <a:pt x="20930" y="63052"/>
                      <a:pt x="19507" y="65428"/>
                      <a:pt x="20095" y="67771"/>
                    </a:cubicBezTo>
                    <a:cubicBezTo>
                      <a:pt x="20682" y="70114"/>
                      <a:pt x="23058" y="71537"/>
                      <a:pt x="25401" y="70950"/>
                    </a:cubicBezTo>
                    <a:cubicBezTo>
                      <a:pt x="25412" y="70947"/>
                      <a:pt x="25422" y="70944"/>
                      <a:pt x="25432" y="70942"/>
                    </a:cubicBezTo>
                    <a:close/>
                    <a:moveTo>
                      <a:pt x="25435" y="92313"/>
                    </a:moveTo>
                    <a:lnTo>
                      <a:pt x="25435" y="92313"/>
                    </a:lnTo>
                    <a:cubicBezTo>
                      <a:pt x="30742" y="90843"/>
                      <a:pt x="35906" y="88898"/>
                      <a:pt x="40865" y="86503"/>
                    </a:cubicBezTo>
                    <a:cubicBezTo>
                      <a:pt x="51513" y="80031"/>
                      <a:pt x="64640" y="79136"/>
                      <a:pt x="76068" y="84102"/>
                    </a:cubicBezTo>
                    <a:cubicBezTo>
                      <a:pt x="78311" y="84975"/>
                      <a:pt x="80838" y="83865"/>
                      <a:pt x="81711" y="81622"/>
                    </a:cubicBezTo>
                    <a:cubicBezTo>
                      <a:pt x="82563" y="79434"/>
                      <a:pt x="81528" y="76963"/>
                      <a:pt x="79371" y="76036"/>
                    </a:cubicBezTo>
                    <a:cubicBezTo>
                      <a:pt x="65767" y="69920"/>
                      <a:pt x="50029" y="70859"/>
                      <a:pt x="37248" y="78548"/>
                    </a:cubicBezTo>
                    <a:cubicBezTo>
                      <a:pt x="32750" y="80709"/>
                      <a:pt x="28075" y="82479"/>
                      <a:pt x="23274" y="83837"/>
                    </a:cubicBezTo>
                    <a:cubicBezTo>
                      <a:pt x="20930" y="84424"/>
                      <a:pt x="19507" y="86800"/>
                      <a:pt x="20095" y="89143"/>
                    </a:cubicBezTo>
                    <a:cubicBezTo>
                      <a:pt x="20682" y="91486"/>
                      <a:pt x="23058" y="92909"/>
                      <a:pt x="25401" y="92322"/>
                    </a:cubicBezTo>
                    <a:cubicBezTo>
                      <a:pt x="25412" y="92319"/>
                      <a:pt x="25422" y="92317"/>
                      <a:pt x="25432" y="92314"/>
                    </a:cubicBezTo>
                    <a:close/>
                    <a:moveTo>
                      <a:pt x="25473" y="113735"/>
                    </a:moveTo>
                    <a:lnTo>
                      <a:pt x="25473" y="113735"/>
                    </a:lnTo>
                    <a:cubicBezTo>
                      <a:pt x="30765" y="112235"/>
                      <a:pt x="35916" y="110276"/>
                      <a:pt x="40867" y="107881"/>
                    </a:cubicBezTo>
                    <a:cubicBezTo>
                      <a:pt x="51529" y="101410"/>
                      <a:pt x="64669" y="100515"/>
                      <a:pt x="76110" y="105481"/>
                    </a:cubicBezTo>
                    <a:cubicBezTo>
                      <a:pt x="78305" y="106394"/>
                      <a:pt x="80825" y="105356"/>
                      <a:pt x="81739" y="103160"/>
                    </a:cubicBezTo>
                    <a:cubicBezTo>
                      <a:pt x="81739" y="103160"/>
                      <a:pt x="81739" y="103160"/>
                      <a:pt x="81739" y="103160"/>
                    </a:cubicBezTo>
                    <a:lnTo>
                      <a:pt x="81756" y="103118"/>
                    </a:lnTo>
                    <a:cubicBezTo>
                      <a:pt x="82670" y="100886"/>
                      <a:pt x="81605" y="98334"/>
                      <a:pt x="79375" y="97415"/>
                    </a:cubicBezTo>
                    <a:cubicBezTo>
                      <a:pt x="65766" y="91317"/>
                      <a:pt x="50036" y="92257"/>
                      <a:pt x="37251" y="99931"/>
                    </a:cubicBezTo>
                    <a:cubicBezTo>
                      <a:pt x="32754" y="102104"/>
                      <a:pt x="28079" y="103886"/>
                      <a:pt x="23277" y="105256"/>
                    </a:cubicBezTo>
                    <a:cubicBezTo>
                      <a:pt x="20953" y="105854"/>
                      <a:pt x="19546" y="108215"/>
                      <a:pt x="20128" y="110544"/>
                    </a:cubicBezTo>
                    <a:cubicBezTo>
                      <a:pt x="20740" y="112889"/>
                      <a:pt x="23120" y="114309"/>
                      <a:pt x="25474" y="113736"/>
                    </a:cubicBezTo>
                    <a:close/>
                    <a:moveTo>
                      <a:pt x="25473" y="49556"/>
                    </a:moveTo>
                    <a:lnTo>
                      <a:pt x="25473" y="49556"/>
                    </a:lnTo>
                    <a:cubicBezTo>
                      <a:pt x="30764" y="48069"/>
                      <a:pt x="35914" y="46123"/>
                      <a:pt x="40867" y="43741"/>
                    </a:cubicBezTo>
                    <a:cubicBezTo>
                      <a:pt x="51523" y="37248"/>
                      <a:pt x="64673" y="36353"/>
                      <a:pt x="76110" y="41340"/>
                    </a:cubicBezTo>
                    <a:cubicBezTo>
                      <a:pt x="78346" y="42220"/>
                      <a:pt x="80872" y="41120"/>
                      <a:pt x="81751" y="38883"/>
                    </a:cubicBezTo>
                    <a:cubicBezTo>
                      <a:pt x="82619" y="36679"/>
                      <a:pt x="81562" y="34185"/>
                      <a:pt x="79375" y="33274"/>
                    </a:cubicBezTo>
                    <a:cubicBezTo>
                      <a:pt x="65773" y="27166"/>
                      <a:pt x="50043" y="28090"/>
                      <a:pt x="37251" y="35751"/>
                    </a:cubicBezTo>
                    <a:cubicBezTo>
                      <a:pt x="32755" y="37923"/>
                      <a:pt x="28080" y="39704"/>
                      <a:pt x="23278" y="41074"/>
                    </a:cubicBezTo>
                    <a:cubicBezTo>
                      <a:pt x="20915" y="41596"/>
                      <a:pt x="19421" y="43934"/>
                      <a:pt x="19943" y="46297"/>
                    </a:cubicBezTo>
                    <a:cubicBezTo>
                      <a:pt x="20464" y="48660"/>
                      <a:pt x="22802" y="50153"/>
                      <a:pt x="25165" y="49632"/>
                    </a:cubicBezTo>
                    <a:cubicBezTo>
                      <a:pt x="25269" y="49609"/>
                      <a:pt x="25372" y="49582"/>
                      <a:pt x="25474" y="49552"/>
                    </a:cubicBezTo>
                    <a:close/>
                    <a:moveTo>
                      <a:pt x="99177" y="26373"/>
                    </a:moveTo>
                    <a:lnTo>
                      <a:pt x="99177" y="26373"/>
                    </a:lnTo>
                    <a:lnTo>
                      <a:pt x="99177" y="125174"/>
                    </a:lnTo>
                    <a:cubicBezTo>
                      <a:pt x="115216" y="113650"/>
                      <a:pt x="136563" y="112738"/>
                      <a:pt x="153528" y="122851"/>
                    </a:cubicBezTo>
                    <a:cubicBezTo>
                      <a:pt x="160208" y="126363"/>
                      <a:pt x="167509" y="128541"/>
                      <a:pt x="175022" y="129262"/>
                    </a:cubicBezTo>
                    <a:lnTo>
                      <a:pt x="175022" y="27987"/>
                    </a:lnTo>
                    <a:cubicBezTo>
                      <a:pt x="165423" y="27394"/>
                      <a:pt x="156059" y="24773"/>
                      <a:pt x="147547" y="20298"/>
                    </a:cubicBezTo>
                    <a:cubicBezTo>
                      <a:pt x="135375" y="14785"/>
                      <a:pt x="124348" y="9796"/>
                      <a:pt x="99177" y="26374"/>
                    </a:cubicBezTo>
                    <a:close/>
                    <a:moveTo>
                      <a:pt x="90439" y="125174"/>
                    </a:moveTo>
                    <a:lnTo>
                      <a:pt x="90439" y="125174"/>
                    </a:lnTo>
                    <a:lnTo>
                      <a:pt x="90439" y="26373"/>
                    </a:lnTo>
                    <a:cubicBezTo>
                      <a:pt x="65250" y="9799"/>
                      <a:pt x="54244" y="14784"/>
                      <a:pt x="42070" y="20297"/>
                    </a:cubicBezTo>
                    <a:cubicBezTo>
                      <a:pt x="33550" y="24769"/>
                      <a:pt x="24181" y="27389"/>
                      <a:pt x="14576" y="27985"/>
                    </a:cubicBezTo>
                    <a:lnTo>
                      <a:pt x="14576" y="129264"/>
                    </a:lnTo>
                    <a:cubicBezTo>
                      <a:pt x="22093" y="128540"/>
                      <a:pt x="29398" y="126363"/>
                      <a:pt x="36086" y="122853"/>
                    </a:cubicBezTo>
                    <a:cubicBezTo>
                      <a:pt x="53051" y="112740"/>
                      <a:pt x="74398" y="113653"/>
                      <a:pt x="90439" y="125176"/>
                    </a:cubicBezTo>
                    <a:close/>
                  </a:path>
                </a:pathLst>
              </a:custGeom>
              <a:solidFill>
                <a:srgbClr val="BFBF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2400" dirty="0">
                  <a:latin typeface="Lato" panose="020F0502020204030203" pitchFamily="34" charset="0"/>
                </a:endParaRPr>
              </a:p>
            </p:txBody>
          </p:sp>
        </p:grpSp>
        <p:cxnSp>
          <p:nvCxnSpPr>
            <p:cNvPr id="60" name="Gerade Verbindung mit Pfeil 59"/>
            <p:cNvCxnSpPr/>
            <p:nvPr/>
          </p:nvCxnSpPr>
          <p:spPr>
            <a:xfrm>
              <a:off x="3954681" y="2785128"/>
              <a:ext cx="4903" cy="805250"/>
            </a:xfrm>
            <a:prstGeom prst="straightConnector1">
              <a:avLst/>
            </a:prstGeom>
            <a:ln w="63500">
              <a:solidFill>
                <a:srgbClr val="D5685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Textfeld 60"/>
            <p:cNvSpPr txBox="1"/>
            <p:nvPr/>
          </p:nvSpPr>
          <p:spPr>
            <a:xfrm>
              <a:off x="2956016" y="1864663"/>
              <a:ext cx="2351606" cy="2708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</a:pPr>
              <a:r>
                <a:rPr lang="de-DE" sz="1600" dirty="0">
                  <a:ea typeface="Open Sans" panose="020B0606030504020204" pitchFamily="34" charset="0"/>
                  <a:cs typeface="Open Sans" panose="020B0606030504020204" pitchFamily="34" charset="0"/>
                </a:rPr>
                <a:t>Manuals (</a:t>
              </a:r>
              <a:r>
                <a:rPr lang="de-DE" sz="1600" dirty="0" err="1">
                  <a:ea typeface="Open Sans" panose="020B0606030504020204" pitchFamily="34" charset="0"/>
                  <a:cs typeface="Open Sans" panose="020B0606030504020204" pitchFamily="34" charset="0"/>
                </a:rPr>
                <a:t>provide</a:t>
              </a:r>
              <a:r>
                <a:rPr lang="de-DE" sz="1600" dirty="0"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de-DE" sz="1600" dirty="0" err="1">
                  <a:ea typeface="Open Sans" panose="020B0606030504020204" pitchFamily="34" charset="0"/>
                  <a:cs typeface="Open Sans" panose="020B0606030504020204" pitchFamily="34" charset="0"/>
                </a:rPr>
                <a:t>context</a:t>
              </a:r>
              <a:r>
                <a:rPr lang="de-DE" sz="1600" dirty="0">
                  <a:ea typeface="Open Sans" panose="020B0606030504020204" pitchFamily="34" charset="0"/>
                  <a:cs typeface="Open Sans" panose="020B0606030504020204" pitchFamily="34" charset="0"/>
                </a:rPr>
                <a:t>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716006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 animBg="1"/>
      <p:bldP spid="86" grpId="0" animBg="1"/>
      <p:bldP spid="87" grpId="0" animBg="1"/>
      <p:bldP spid="89" grpId="0" animBg="1"/>
      <p:bldP spid="33" grpId="0"/>
      <p:bldP spid="70" grpId="0"/>
      <p:bldP spid="72" grpId="0"/>
      <p:bldP spid="91" grpId="0" animBg="1"/>
      <p:bldP spid="92" grpId="0" animBg="1"/>
      <p:bldP spid="93" grpId="0" animBg="1"/>
      <p:bldP spid="94" grpId="0" animBg="1"/>
      <p:bldP spid="52" grpId="0" animBg="1"/>
      <p:bldP spid="53" grpId="0" animBg="1"/>
      <p:bldP spid="54" grpId="0" animBg="1"/>
      <p:bldP spid="5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Bogen 84"/>
          <p:cNvSpPr/>
          <p:nvPr/>
        </p:nvSpPr>
        <p:spPr>
          <a:xfrm>
            <a:off x="4081965" y="3129158"/>
            <a:ext cx="2230137" cy="2056921"/>
          </a:xfrm>
          <a:prstGeom prst="arc">
            <a:avLst>
              <a:gd name="adj1" fmla="val 21420294"/>
              <a:gd name="adj2" fmla="val 10854159"/>
            </a:avLst>
          </a:prstGeom>
          <a:ln w="69850">
            <a:solidFill>
              <a:srgbClr val="B4E3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6" name="Bogen 85"/>
          <p:cNvSpPr/>
          <p:nvPr/>
        </p:nvSpPr>
        <p:spPr>
          <a:xfrm>
            <a:off x="4083944" y="2917374"/>
            <a:ext cx="2230137" cy="2056921"/>
          </a:xfrm>
          <a:prstGeom prst="arc">
            <a:avLst>
              <a:gd name="adj1" fmla="val 10735902"/>
              <a:gd name="adj2" fmla="val 0"/>
            </a:avLst>
          </a:prstGeom>
          <a:ln w="69850">
            <a:solidFill>
              <a:srgbClr val="EFCD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7" name="Isosceles Triangle 194">
            <a:extLst>
              <a:ext uri="{FF2B5EF4-FFF2-40B4-BE49-F238E27FC236}">
                <a16:creationId xmlns:a16="http://schemas.microsoft.com/office/drawing/2014/main" id="{91167B38-C4D7-41E8-83C3-AF1170B9BB85}"/>
              </a:ext>
            </a:extLst>
          </p:cNvPr>
          <p:cNvSpPr/>
          <p:nvPr/>
        </p:nvSpPr>
        <p:spPr>
          <a:xfrm rot="14254972">
            <a:off x="5701848" y="4746037"/>
            <a:ext cx="446662" cy="331679"/>
          </a:xfrm>
          <a:prstGeom prst="triangle">
            <a:avLst/>
          </a:prstGeom>
          <a:solidFill>
            <a:srgbClr val="B4E33D"/>
          </a:solidFill>
          <a:ln w="28575" cap="flat" cmpd="sng" algn="ctr">
            <a:solidFill>
              <a:srgbClr val="B4E33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097289">
              <a:defRPr/>
            </a:pPr>
            <a:endParaRPr lang="de-DE" sz="1200" kern="0" dirty="0">
              <a:latin typeface="Lato" panose="020F0502020204030203" pitchFamily="34" charset="0"/>
            </a:endParaRPr>
          </a:p>
        </p:txBody>
      </p:sp>
      <p:sp>
        <p:nvSpPr>
          <p:cNvPr id="89" name="Isosceles Triangle 195">
            <a:extLst>
              <a:ext uri="{FF2B5EF4-FFF2-40B4-BE49-F238E27FC236}">
                <a16:creationId xmlns:a16="http://schemas.microsoft.com/office/drawing/2014/main" id="{F2A23DB2-1804-4DDC-B3E2-12B0EAB1C172}"/>
              </a:ext>
            </a:extLst>
          </p:cNvPr>
          <p:cNvSpPr/>
          <p:nvPr/>
        </p:nvSpPr>
        <p:spPr>
          <a:xfrm rot="3454972">
            <a:off x="4532513" y="2824388"/>
            <a:ext cx="446662" cy="331679"/>
          </a:xfrm>
          <a:prstGeom prst="triangle">
            <a:avLst/>
          </a:prstGeom>
          <a:solidFill>
            <a:srgbClr val="EFCDBF"/>
          </a:solidFill>
          <a:ln w="28575" cap="flat" cmpd="sng" algn="ctr">
            <a:solidFill>
              <a:srgbClr val="EFCDB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097289">
              <a:defRPr/>
            </a:pPr>
            <a:endParaRPr lang="de-DE" sz="1200" kern="0" dirty="0">
              <a:latin typeface="Lato" panose="020F0502020204030203" pitchFamily="34" charset="0"/>
            </a:endParaRPr>
          </a:p>
        </p:txBody>
      </p:sp>
      <p:sp>
        <p:nvSpPr>
          <p:cNvPr id="75" name="Bogen 74"/>
          <p:cNvSpPr/>
          <p:nvPr/>
        </p:nvSpPr>
        <p:spPr>
          <a:xfrm>
            <a:off x="1589054" y="3138693"/>
            <a:ext cx="2230137" cy="2056921"/>
          </a:xfrm>
          <a:prstGeom prst="arc">
            <a:avLst>
              <a:gd name="adj1" fmla="val 21420294"/>
              <a:gd name="adj2" fmla="val 10854159"/>
            </a:avLst>
          </a:prstGeom>
          <a:ln w="69850">
            <a:solidFill>
              <a:srgbClr val="E5E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2" name="Bogen 81"/>
          <p:cNvSpPr/>
          <p:nvPr/>
        </p:nvSpPr>
        <p:spPr>
          <a:xfrm>
            <a:off x="1591033" y="2926909"/>
            <a:ext cx="2230137" cy="2056921"/>
          </a:xfrm>
          <a:prstGeom prst="arc">
            <a:avLst>
              <a:gd name="adj1" fmla="val 10735902"/>
              <a:gd name="adj2" fmla="val 0"/>
            </a:avLst>
          </a:prstGeom>
          <a:ln w="69850">
            <a:solidFill>
              <a:srgbClr val="C3F1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3" name="Isosceles Triangle 194">
            <a:extLst>
              <a:ext uri="{FF2B5EF4-FFF2-40B4-BE49-F238E27FC236}">
                <a16:creationId xmlns:a16="http://schemas.microsoft.com/office/drawing/2014/main" id="{91167B38-C4D7-41E8-83C3-AF1170B9BB85}"/>
              </a:ext>
            </a:extLst>
          </p:cNvPr>
          <p:cNvSpPr/>
          <p:nvPr/>
        </p:nvSpPr>
        <p:spPr>
          <a:xfrm rot="14254972">
            <a:off x="3208937" y="4755572"/>
            <a:ext cx="446662" cy="331679"/>
          </a:xfrm>
          <a:prstGeom prst="triangle">
            <a:avLst/>
          </a:prstGeom>
          <a:solidFill>
            <a:srgbClr val="E5E5E5"/>
          </a:solidFill>
          <a:ln w="28575" cap="flat" cmpd="sng" algn="ctr">
            <a:solidFill>
              <a:srgbClr val="E5E5E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097289">
              <a:defRPr/>
            </a:pPr>
            <a:endParaRPr lang="de-DE" sz="1200" kern="0" dirty="0">
              <a:latin typeface="Lato" panose="020F0502020204030203" pitchFamily="34" charset="0"/>
            </a:endParaRPr>
          </a:p>
        </p:txBody>
      </p:sp>
      <p:sp>
        <p:nvSpPr>
          <p:cNvPr id="84" name="Isosceles Triangle 195">
            <a:extLst>
              <a:ext uri="{FF2B5EF4-FFF2-40B4-BE49-F238E27FC236}">
                <a16:creationId xmlns:a16="http://schemas.microsoft.com/office/drawing/2014/main" id="{F2A23DB2-1804-4DDC-B3E2-12B0EAB1C172}"/>
              </a:ext>
            </a:extLst>
          </p:cNvPr>
          <p:cNvSpPr/>
          <p:nvPr/>
        </p:nvSpPr>
        <p:spPr>
          <a:xfrm rot="3454972">
            <a:off x="2039602" y="2833923"/>
            <a:ext cx="446662" cy="331679"/>
          </a:xfrm>
          <a:prstGeom prst="triangle">
            <a:avLst/>
          </a:prstGeom>
          <a:solidFill>
            <a:srgbClr val="C3F1FF"/>
          </a:solidFill>
          <a:ln w="28575" cap="flat" cmpd="sng" algn="ctr">
            <a:solidFill>
              <a:srgbClr val="C3F1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097289">
              <a:defRPr/>
            </a:pPr>
            <a:endParaRPr lang="de-DE" sz="1200" kern="0" dirty="0">
              <a:latin typeface="Lato" panose="020F05020202040302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ING WITH A TOOL ASSISTAN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IVING THE AI THE MEANS TO REACH BEYOND ITS KNOWLED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741833" y="1383941"/>
            <a:ext cx="10936378" cy="553998"/>
          </a:xfrm>
        </p:spPr>
        <p:txBody>
          <a:bodyPr/>
          <a:lstStyle/>
          <a:p>
            <a:r>
              <a:rPr lang="en-US" dirty="0"/>
              <a:t>Without context, only the AI’s “world knowledge” remains</a:t>
            </a:r>
          </a:p>
          <a:p>
            <a:r>
              <a:rPr lang="de-DE" dirty="0"/>
              <a:t>Note: GPT-4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language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, not a </a:t>
            </a:r>
            <a:r>
              <a:rPr lang="de-DE" dirty="0" err="1"/>
              <a:t>calculation</a:t>
            </a:r>
            <a:r>
              <a:rPr lang="de-DE" dirty="0"/>
              <a:t> </a:t>
            </a:r>
            <a:r>
              <a:rPr lang="de-DE" dirty="0" err="1"/>
              <a:t>model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@2025 INNOWERK - FRANKFURT AM MAIN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>
          <a:xfrm>
            <a:off x="8830800" y="6310800"/>
            <a:ext cx="2820987" cy="163513"/>
          </a:xfrm>
        </p:spPr>
        <p:txBody>
          <a:bodyPr/>
          <a:lstStyle/>
          <a:p>
            <a:r>
              <a:rPr lang="en-US"/>
              <a:t>6 November 2025</a:t>
            </a:r>
            <a:endParaRPr lang="de-DE" dirty="0"/>
          </a:p>
        </p:txBody>
      </p:sp>
      <p:sp>
        <p:nvSpPr>
          <p:cNvPr id="10" name="Rectangle 193">
            <a:extLst>
              <a:ext uri="{FF2B5EF4-FFF2-40B4-BE49-F238E27FC236}">
                <a16:creationId xmlns:a16="http://schemas.microsoft.com/office/drawing/2014/main" id="{51B53CE7-6E49-4104-8145-05F8555C0092}"/>
              </a:ext>
            </a:extLst>
          </p:cNvPr>
          <p:cNvSpPr/>
          <p:nvPr/>
        </p:nvSpPr>
        <p:spPr>
          <a:xfrm>
            <a:off x="2109142" y="3585543"/>
            <a:ext cx="1329782" cy="830997"/>
          </a:xfrm>
          <a:prstGeom prst="rect">
            <a:avLst/>
          </a:prstGeom>
          <a:ln w="28575">
            <a:noFill/>
          </a:ln>
        </p:spPr>
        <p:txBody>
          <a:bodyPr wrap="square" anchor="ctr">
            <a:spAutoFit/>
          </a:bodyPr>
          <a:lstStyle/>
          <a:p>
            <a:pPr algn="ctr" defTabSz="1097289">
              <a:defRPr/>
            </a:pPr>
            <a:r>
              <a:rPr lang="de-DE" sz="1600" b="1" kern="0" dirty="0">
                <a:latin typeface="Lato" panose="020F0502020204030203" pitchFamily="34" charset="0"/>
              </a:rPr>
              <a:t>Chat</a:t>
            </a:r>
          </a:p>
          <a:p>
            <a:pPr algn="ctr" defTabSz="1097289">
              <a:defRPr/>
            </a:pPr>
            <a:r>
              <a:rPr lang="de-DE" sz="1600" kern="0" dirty="0">
                <a:latin typeface="Lato" panose="020F0502020204030203" pitchFamily="34" charset="0"/>
              </a:rPr>
              <a:t>Natural Language</a:t>
            </a:r>
          </a:p>
        </p:txBody>
      </p:sp>
      <p:sp>
        <p:nvSpPr>
          <p:cNvPr id="33" name="Rectangle 193">
            <a:extLst>
              <a:ext uri="{FF2B5EF4-FFF2-40B4-BE49-F238E27FC236}">
                <a16:creationId xmlns:a16="http://schemas.microsoft.com/office/drawing/2014/main" id="{51B53CE7-6E49-4104-8145-05F8555C0092}"/>
              </a:ext>
            </a:extLst>
          </p:cNvPr>
          <p:cNvSpPr/>
          <p:nvPr/>
        </p:nvSpPr>
        <p:spPr>
          <a:xfrm>
            <a:off x="4438031" y="3569214"/>
            <a:ext cx="1474898" cy="830997"/>
          </a:xfrm>
          <a:prstGeom prst="rect">
            <a:avLst/>
          </a:prstGeom>
          <a:ln w="28575">
            <a:noFill/>
          </a:ln>
        </p:spPr>
        <p:txBody>
          <a:bodyPr wrap="square" anchor="ctr">
            <a:spAutoFit/>
          </a:bodyPr>
          <a:lstStyle/>
          <a:p>
            <a:pPr algn="ctr" defTabSz="1097289">
              <a:defRPr/>
            </a:pPr>
            <a:r>
              <a:rPr lang="de-DE" sz="1600" b="1" kern="0" dirty="0">
                <a:latin typeface="Lato" panose="020F0502020204030203" pitchFamily="34" charset="0"/>
              </a:rPr>
              <a:t>Tools</a:t>
            </a:r>
          </a:p>
          <a:p>
            <a:pPr algn="ctr" defTabSz="1097289">
              <a:defRPr/>
            </a:pPr>
            <a:r>
              <a:rPr lang="de-DE" sz="1600" kern="0" dirty="0">
                <a:latin typeface="Lato" panose="020F0502020204030203" pitchFamily="34" charset="0"/>
              </a:rPr>
              <a:t>Structured In- and Output</a:t>
            </a:r>
          </a:p>
        </p:txBody>
      </p:sp>
      <p:grpSp>
        <p:nvGrpSpPr>
          <p:cNvPr id="29" name="Gruppieren 28"/>
          <p:cNvGrpSpPr>
            <a:grpSpLocks noChangeAspect="1"/>
          </p:cNvGrpSpPr>
          <p:nvPr/>
        </p:nvGrpSpPr>
        <p:grpSpPr>
          <a:xfrm>
            <a:off x="3484557" y="3595412"/>
            <a:ext cx="936000" cy="936000"/>
            <a:chOff x="4856158" y="3824853"/>
            <a:chExt cx="648000" cy="648000"/>
          </a:xfrm>
        </p:grpSpPr>
        <p:sp>
          <p:nvSpPr>
            <p:cNvPr id="19" name="Freeform: Shape 362">
              <a:extLst>
                <a:ext uri="{FF2B5EF4-FFF2-40B4-BE49-F238E27FC236}">
                  <a16:creationId xmlns:a16="http://schemas.microsoft.com/office/drawing/2014/main" id="{8F56B91A-DDDB-487F-A88B-C6471DA18B9C}"/>
                </a:ext>
              </a:extLst>
            </p:cNvPr>
            <p:cNvSpPr/>
            <p:nvPr/>
          </p:nvSpPr>
          <p:spPr>
            <a:xfrm>
              <a:off x="4856158" y="3824853"/>
              <a:ext cx="648000" cy="648000"/>
            </a:xfrm>
            <a:custGeom>
              <a:avLst/>
              <a:gdLst>
                <a:gd name="connsiteX0" fmla="*/ 0 w 306268"/>
                <a:gd name="connsiteY0" fmla="*/ 0 h 306268"/>
                <a:gd name="connsiteX1" fmla="*/ 306269 w 306268"/>
                <a:gd name="connsiteY1" fmla="*/ 0 h 306268"/>
                <a:gd name="connsiteX2" fmla="*/ 306269 w 306268"/>
                <a:gd name="connsiteY2" fmla="*/ 306269 h 306268"/>
                <a:gd name="connsiteX3" fmla="*/ 0 w 306268"/>
                <a:gd name="connsiteY3" fmla="*/ 306269 h 3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268" h="306268">
                  <a:moveTo>
                    <a:pt x="0" y="0"/>
                  </a:moveTo>
                  <a:lnTo>
                    <a:pt x="306269" y="0"/>
                  </a:lnTo>
                  <a:lnTo>
                    <a:pt x="306269" y="306269"/>
                  </a:lnTo>
                  <a:lnTo>
                    <a:pt x="0" y="306269"/>
                  </a:lnTo>
                  <a:close/>
                </a:path>
              </a:pathLst>
            </a:custGeom>
            <a:solidFill>
              <a:schemeClr val="bg1"/>
            </a:solidFill>
            <a:ln w="19050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cxnSp>
          <p:nvCxnSpPr>
            <p:cNvPr id="20" name="Gerader Verbinder 19"/>
            <p:cNvCxnSpPr>
              <a:stCxn id="21" idx="2"/>
              <a:endCxn id="23" idx="0"/>
            </p:cNvCxnSpPr>
            <p:nvPr/>
          </p:nvCxnSpPr>
          <p:spPr>
            <a:xfrm>
              <a:off x="5181857" y="4161236"/>
              <a:ext cx="0" cy="37235"/>
            </a:xfrm>
            <a:prstGeom prst="line">
              <a:avLst/>
            </a:prstGeom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Abgerundetes Rechteck 20"/>
            <p:cNvSpPr/>
            <p:nvPr/>
          </p:nvSpPr>
          <p:spPr>
            <a:xfrm>
              <a:off x="5062646" y="3969714"/>
              <a:ext cx="238422" cy="191522"/>
            </a:xfrm>
            <a:prstGeom prst="roundRect">
              <a:avLst/>
            </a:prstGeom>
            <a:noFill/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noFill/>
              </a:endParaRPr>
            </a:p>
          </p:txBody>
        </p:sp>
        <p:cxnSp>
          <p:nvCxnSpPr>
            <p:cNvPr id="22" name="Gerader Verbinder 21"/>
            <p:cNvCxnSpPr>
              <a:stCxn id="21" idx="0"/>
            </p:cNvCxnSpPr>
            <p:nvPr/>
          </p:nvCxnSpPr>
          <p:spPr>
            <a:xfrm flipH="1" flipV="1">
              <a:off x="5177078" y="3874888"/>
              <a:ext cx="4779" cy="94826"/>
            </a:xfrm>
            <a:prstGeom prst="line">
              <a:avLst/>
            </a:prstGeom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3" name="Abgerundetes Rechteck 22"/>
            <p:cNvSpPr/>
            <p:nvPr/>
          </p:nvSpPr>
          <p:spPr>
            <a:xfrm>
              <a:off x="5062646" y="4198471"/>
              <a:ext cx="238422" cy="191522"/>
            </a:xfrm>
            <a:prstGeom prst="roundRect">
              <a:avLst/>
            </a:prstGeom>
            <a:noFill/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noFill/>
              </a:endParaRPr>
            </a:p>
          </p:txBody>
        </p:sp>
        <p:sp>
          <p:nvSpPr>
            <p:cNvPr id="24" name="Ellipse 23"/>
            <p:cNvSpPr/>
            <p:nvPr/>
          </p:nvSpPr>
          <p:spPr>
            <a:xfrm>
              <a:off x="5207648" y="4021832"/>
              <a:ext cx="45719" cy="45719"/>
            </a:xfrm>
            <a:prstGeom prst="ellipse">
              <a:avLst/>
            </a:prstGeom>
            <a:noFill/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Ellipse 24"/>
            <p:cNvSpPr/>
            <p:nvPr/>
          </p:nvSpPr>
          <p:spPr>
            <a:xfrm>
              <a:off x="5114426" y="4021832"/>
              <a:ext cx="45719" cy="45719"/>
            </a:xfrm>
            <a:prstGeom prst="ellipse">
              <a:avLst/>
            </a:prstGeom>
            <a:noFill/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Abgerundetes Rechteck 25"/>
            <p:cNvSpPr/>
            <p:nvPr/>
          </p:nvSpPr>
          <p:spPr>
            <a:xfrm>
              <a:off x="5102715" y="4243582"/>
              <a:ext cx="154936" cy="56851"/>
            </a:xfrm>
            <a:prstGeom prst="roundRect">
              <a:avLst/>
            </a:prstGeom>
            <a:noFill/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noFill/>
              </a:endParaRPr>
            </a:p>
          </p:txBody>
        </p:sp>
      </p:grpSp>
      <p:grpSp>
        <p:nvGrpSpPr>
          <p:cNvPr id="39" name="Gruppieren 38"/>
          <p:cNvGrpSpPr/>
          <p:nvPr/>
        </p:nvGrpSpPr>
        <p:grpSpPr>
          <a:xfrm>
            <a:off x="5914908" y="3590378"/>
            <a:ext cx="936820" cy="936000"/>
            <a:chOff x="7295474" y="3751741"/>
            <a:chExt cx="936820" cy="936000"/>
          </a:xfrm>
        </p:grpSpPr>
        <p:sp>
          <p:nvSpPr>
            <p:cNvPr id="37" name="Freeform: Shape 281">
              <a:extLst>
                <a:ext uri="{FF2B5EF4-FFF2-40B4-BE49-F238E27FC236}">
                  <a16:creationId xmlns:a16="http://schemas.microsoft.com/office/drawing/2014/main" id="{EF8262A2-1739-4C86-9E97-F34799AEA46C}"/>
                </a:ext>
              </a:extLst>
            </p:cNvPr>
            <p:cNvSpPr/>
            <p:nvPr/>
          </p:nvSpPr>
          <p:spPr>
            <a:xfrm>
              <a:off x="7295474" y="3751741"/>
              <a:ext cx="936820" cy="936000"/>
            </a:xfrm>
            <a:custGeom>
              <a:avLst/>
              <a:gdLst>
                <a:gd name="connsiteX0" fmla="*/ 0 w 306268"/>
                <a:gd name="connsiteY0" fmla="*/ 0 h 306268"/>
                <a:gd name="connsiteX1" fmla="*/ 306269 w 306268"/>
                <a:gd name="connsiteY1" fmla="*/ 0 h 306268"/>
                <a:gd name="connsiteX2" fmla="*/ 306269 w 306268"/>
                <a:gd name="connsiteY2" fmla="*/ 306269 h 306268"/>
                <a:gd name="connsiteX3" fmla="*/ 0 w 306268"/>
                <a:gd name="connsiteY3" fmla="*/ 306269 h 3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268" h="306268">
                  <a:moveTo>
                    <a:pt x="0" y="0"/>
                  </a:moveTo>
                  <a:lnTo>
                    <a:pt x="306269" y="0"/>
                  </a:lnTo>
                  <a:lnTo>
                    <a:pt x="306269" y="306269"/>
                  </a:lnTo>
                  <a:lnTo>
                    <a:pt x="0" y="306269"/>
                  </a:lnTo>
                  <a:close/>
                </a:path>
              </a:pathLst>
            </a:custGeom>
            <a:solidFill>
              <a:schemeClr val="bg1"/>
            </a:solidFill>
            <a:ln w="19050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eform: Shape 280">
              <a:extLst>
                <a:ext uri="{FF2B5EF4-FFF2-40B4-BE49-F238E27FC236}">
                  <a16:creationId xmlns:a16="http://schemas.microsoft.com/office/drawing/2014/main" id="{F82AF232-79F3-49B8-93FC-29BBA3B23B68}"/>
                </a:ext>
              </a:extLst>
            </p:cNvPr>
            <p:cNvSpPr/>
            <p:nvPr/>
          </p:nvSpPr>
          <p:spPr>
            <a:xfrm>
              <a:off x="7459378" y="3928240"/>
              <a:ext cx="609012" cy="582975"/>
            </a:xfrm>
            <a:custGeom>
              <a:avLst/>
              <a:gdLst>
                <a:gd name="connsiteX0" fmla="*/ 78379 w 199100"/>
                <a:gd name="connsiteY0" fmla="*/ 8 h 190755"/>
                <a:gd name="connsiteX1" fmla="*/ 120719 w 199100"/>
                <a:gd name="connsiteY1" fmla="*/ 8 h 190755"/>
                <a:gd name="connsiteX2" fmla="*/ 143014 w 199100"/>
                <a:gd name="connsiteY2" fmla="*/ 22263 h 190755"/>
                <a:gd name="connsiteX3" fmla="*/ 143014 w 199100"/>
                <a:gd name="connsiteY3" fmla="*/ 29155 h 190755"/>
                <a:gd name="connsiteX4" fmla="*/ 159711 w 199100"/>
                <a:gd name="connsiteY4" fmla="*/ 29155 h 190755"/>
                <a:gd name="connsiteX5" fmla="*/ 199100 w 199100"/>
                <a:gd name="connsiteY5" fmla="*/ 68503 h 190755"/>
                <a:gd name="connsiteX6" fmla="*/ 199100 w 199100"/>
                <a:gd name="connsiteY6" fmla="*/ 151370 h 190755"/>
                <a:gd name="connsiteX7" fmla="*/ 159711 w 199100"/>
                <a:gd name="connsiteY7" fmla="*/ 190755 h 190755"/>
                <a:gd name="connsiteX8" fmla="*/ 39385 w 199100"/>
                <a:gd name="connsiteY8" fmla="*/ 190755 h 190755"/>
                <a:gd name="connsiteX9" fmla="*/ 11581 w 199100"/>
                <a:gd name="connsiteY9" fmla="*/ 179176 h 190755"/>
                <a:gd name="connsiteX10" fmla="*/ 11144 w 199100"/>
                <a:gd name="connsiteY10" fmla="*/ 178699 h 190755"/>
                <a:gd name="connsiteX11" fmla="*/ 0 w 199100"/>
                <a:gd name="connsiteY11" fmla="*/ 151363 h 190755"/>
                <a:gd name="connsiteX12" fmla="*/ 0 w 199100"/>
                <a:gd name="connsiteY12" fmla="*/ 68495 h 190755"/>
                <a:gd name="connsiteX13" fmla="*/ 11580 w 199100"/>
                <a:gd name="connsiteY13" fmla="*/ 40727 h 190755"/>
                <a:gd name="connsiteX14" fmla="*/ 11580 w 199100"/>
                <a:gd name="connsiteY14" fmla="*/ 40687 h 190755"/>
                <a:gd name="connsiteX15" fmla="*/ 11580 w 199100"/>
                <a:gd name="connsiteY15" fmla="*/ 40687 h 190755"/>
                <a:gd name="connsiteX16" fmla="*/ 39384 w 199100"/>
                <a:gd name="connsiteY16" fmla="*/ 29147 h 190755"/>
                <a:gd name="connsiteX17" fmla="*/ 56085 w 199100"/>
                <a:gd name="connsiteY17" fmla="*/ 29147 h 190755"/>
                <a:gd name="connsiteX18" fmla="*/ 56085 w 199100"/>
                <a:gd name="connsiteY18" fmla="*/ 22255 h 190755"/>
                <a:gd name="connsiteX19" fmla="*/ 78374 w 199100"/>
                <a:gd name="connsiteY19" fmla="*/ 0 h 190755"/>
                <a:gd name="connsiteX20" fmla="*/ 139272 w 199100"/>
                <a:gd name="connsiteY20" fmla="*/ 44477 h 190755"/>
                <a:gd name="connsiteX21" fmla="*/ 139272 w 199100"/>
                <a:gd name="connsiteY21" fmla="*/ 44477 h 190755"/>
                <a:gd name="connsiteX22" fmla="*/ 138425 w 199100"/>
                <a:gd name="connsiteY22" fmla="*/ 44554 h 190755"/>
                <a:gd name="connsiteX23" fmla="*/ 60676 w 199100"/>
                <a:gd name="connsiteY23" fmla="*/ 44554 h 190755"/>
                <a:gd name="connsiteX24" fmla="*/ 59809 w 199100"/>
                <a:gd name="connsiteY24" fmla="*/ 44477 h 190755"/>
                <a:gd name="connsiteX25" fmla="*/ 39385 w 199100"/>
                <a:gd name="connsiteY25" fmla="*/ 44477 h 190755"/>
                <a:gd name="connsiteX26" fmla="*/ 22410 w 199100"/>
                <a:gd name="connsiteY26" fmla="*/ 51525 h 190755"/>
                <a:gd name="connsiteX27" fmla="*/ 22369 w 199100"/>
                <a:gd name="connsiteY27" fmla="*/ 51525 h 190755"/>
                <a:gd name="connsiteX28" fmla="*/ 15339 w 199100"/>
                <a:gd name="connsiteY28" fmla="*/ 68501 h 190755"/>
                <a:gd name="connsiteX29" fmla="*/ 15339 w 199100"/>
                <a:gd name="connsiteY29" fmla="*/ 105363 h 190755"/>
                <a:gd name="connsiteX30" fmla="*/ 37179 w 199100"/>
                <a:gd name="connsiteY30" fmla="*/ 105363 h 190755"/>
                <a:gd name="connsiteX31" fmla="*/ 37179 w 199100"/>
                <a:gd name="connsiteY31" fmla="*/ 91738 h 190755"/>
                <a:gd name="connsiteX32" fmla="*/ 41758 w 199100"/>
                <a:gd name="connsiteY32" fmla="*/ 87173 h 190755"/>
                <a:gd name="connsiteX33" fmla="*/ 41769 w 199100"/>
                <a:gd name="connsiteY33" fmla="*/ 87173 h 190755"/>
                <a:gd name="connsiteX34" fmla="*/ 74559 w 199100"/>
                <a:gd name="connsiteY34" fmla="*/ 87173 h 190755"/>
                <a:gd name="connsiteX35" fmla="*/ 79185 w 199100"/>
                <a:gd name="connsiteY35" fmla="*/ 91738 h 190755"/>
                <a:gd name="connsiteX36" fmla="*/ 79185 w 199100"/>
                <a:gd name="connsiteY36" fmla="*/ 105367 h 190755"/>
                <a:gd name="connsiteX37" fmla="*/ 119912 w 199100"/>
                <a:gd name="connsiteY37" fmla="*/ 105367 h 190755"/>
                <a:gd name="connsiteX38" fmla="*/ 119912 w 199100"/>
                <a:gd name="connsiteY38" fmla="*/ 91738 h 190755"/>
                <a:gd name="connsiteX39" fmla="*/ 124538 w 199100"/>
                <a:gd name="connsiteY39" fmla="*/ 87173 h 190755"/>
                <a:gd name="connsiteX40" fmla="*/ 157305 w 199100"/>
                <a:gd name="connsiteY40" fmla="*/ 87173 h 190755"/>
                <a:gd name="connsiteX41" fmla="*/ 161915 w 199100"/>
                <a:gd name="connsiteY41" fmla="*/ 91720 h 190755"/>
                <a:gd name="connsiteX42" fmla="*/ 161915 w 199100"/>
                <a:gd name="connsiteY42" fmla="*/ 91738 h 190755"/>
                <a:gd name="connsiteX43" fmla="*/ 161915 w 199100"/>
                <a:gd name="connsiteY43" fmla="*/ 105367 h 190755"/>
                <a:gd name="connsiteX44" fmla="*/ 183754 w 199100"/>
                <a:gd name="connsiteY44" fmla="*/ 105367 h 190755"/>
                <a:gd name="connsiteX45" fmla="*/ 183754 w 199100"/>
                <a:gd name="connsiteY45" fmla="*/ 68505 h 190755"/>
                <a:gd name="connsiteX46" fmla="*/ 159708 w 199100"/>
                <a:gd name="connsiteY46" fmla="*/ 44479 h 190755"/>
                <a:gd name="connsiteX47" fmla="*/ 65303 w 199100"/>
                <a:gd name="connsiteY47" fmla="*/ 29155 h 190755"/>
                <a:gd name="connsiteX48" fmla="*/ 133815 w 199100"/>
                <a:gd name="connsiteY48" fmla="*/ 29155 h 190755"/>
                <a:gd name="connsiteX49" fmla="*/ 133815 w 199100"/>
                <a:gd name="connsiteY49" fmla="*/ 22263 h 190755"/>
                <a:gd name="connsiteX50" fmla="*/ 120719 w 199100"/>
                <a:gd name="connsiteY50" fmla="*/ 9187 h 190755"/>
                <a:gd name="connsiteX51" fmla="*/ 78379 w 199100"/>
                <a:gd name="connsiteY51" fmla="*/ 9187 h 190755"/>
                <a:gd name="connsiteX52" fmla="*/ 65303 w 199100"/>
                <a:gd name="connsiteY52" fmla="*/ 22192 h 190755"/>
                <a:gd name="connsiteX53" fmla="*/ 65303 w 199100"/>
                <a:gd name="connsiteY53" fmla="*/ 22263 h 190755"/>
                <a:gd name="connsiteX54" fmla="*/ 65303 w 199100"/>
                <a:gd name="connsiteY54" fmla="*/ 29155 h 190755"/>
                <a:gd name="connsiteX55" fmla="*/ 15339 w 199100"/>
                <a:gd name="connsiteY55" fmla="*/ 114547 h 190755"/>
                <a:gd name="connsiteX56" fmla="*/ 15339 w 199100"/>
                <a:gd name="connsiteY56" fmla="*/ 114547 h 190755"/>
                <a:gd name="connsiteX57" fmla="*/ 15339 w 199100"/>
                <a:gd name="connsiteY57" fmla="*/ 151373 h 190755"/>
                <a:gd name="connsiteX58" fmla="*/ 22094 w 199100"/>
                <a:gd name="connsiteY58" fmla="*/ 168071 h 190755"/>
                <a:gd name="connsiteX59" fmla="*/ 22410 w 199100"/>
                <a:gd name="connsiteY59" fmla="*/ 168350 h 190755"/>
                <a:gd name="connsiteX60" fmla="*/ 39385 w 199100"/>
                <a:gd name="connsiteY60" fmla="*/ 175435 h 190755"/>
                <a:gd name="connsiteX61" fmla="*/ 159711 w 199100"/>
                <a:gd name="connsiteY61" fmla="*/ 175435 h 190755"/>
                <a:gd name="connsiteX62" fmla="*/ 183757 w 199100"/>
                <a:gd name="connsiteY62" fmla="*/ 151373 h 190755"/>
                <a:gd name="connsiteX63" fmla="*/ 183757 w 199100"/>
                <a:gd name="connsiteY63" fmla="*/ 114547 h 190755"/>
                <a:gd name="connsiteX64" fmla="*/ 161919 w 199100"/>
                <a:gd name="connsiteY64" fmla="*/ 114547 h 190755"/>
                <a:gd name="connsiteX65" fmla="*/ 161919 w 199100"/>
                <a:gd name="connsiteY65" fmla="*/ 128134 h 190755"/>
                <a:gd name="connsiteX66" fmla="*/ 157308 w 199100"/>
                <a:gd name="connsiteY66" fmla="*/ 132744 h 190755"/>
                <a:gd name="connsiteX67" fmla="*/ 124542 w 199100"/>
                <a:gd name="connsiteY67" fmla="*/ 132744 h 190755"/>
                <a:gd name="connsiteX68" fmla="*/ 119916 w 199100"/>
                <a:gd name="connsiteY68" fmla="*/ 128134 h 190755"/>
                <a:gd name="connsiteX69" fmla="*/ 119916 w 199100"/>
                <a:gd name="connsiteY69" fmla="*/ 114547 h 190755"/>
                <a:gd name="connsiteX70" fmla="*/ 79189 w 199100"/>
                <a:gd name="connsiteY70" fmla="*/ 114547 h 190755"/>
                <a:gd name="connsiteX71" fmla="*/ 79189 w 199100"/>
                <a:gd name="connsiteY71" fmla="*/ 128134 h 190755"/>
                <a:gd name="connsiteX72" fmla="*/ 74563 w 199100"/>
                <a:gd name="connsiteY72" fmla="*/ 132744 h 190755"/>
                <a:gd name="connsiteX73" fmla="*/ 41773 w 199100"/>
                <a:gd name="connsiteY73" fmla="*/ 132744 h 190755"/>
                <a:gd name="connsiteX74" fmla="*/ 37183 w 199100"/>
                <a:gd name="connsiteY74" fmla="*/ 128134 h 190755"/>
                <a:gd name="connsiteX75" fmla="*/ 37183 w 199100"/>
                <a:gd name="connsiteY75" fmla="*/ 114547 h 190755"/>
                <a:gd name="connsiteX76" fmla="*/ 69969 w 199100"/>
                <a:gd name="connsiteY76" fmla="*/ 96348 h 190755"/>
                <a:gd name="connsiteX77" fmla="*/ 46358 w 199100"/>
                <a:gd name="connsiteY77" fmla="*/ 96348 h 190755"/>
                <a:gd name="connsiteX78" fmla="*/ 46358 w 199100"/>
                <a:gd name="connsiteY78" fmla="*/ 123526 h 190755"/>
                <a:gd name="connsiteX79" fmla="*/ 69969 w 199100"/>
                <a:gd name="connsiteY79" fmla="*/ 123526 h 190755"/>
                <a:gd name="connsiteX80" fmla="*/ 69969 w 199100"/>
                <a:gd name="connsiteY80" fmla="*/ 96348 h 190755"/>
                <a:gd name="connsiteX81" fmla="*/ 152722 w 199100"/>
                <a:gd name="connsiteY81" fmla="*/ 96348 h 190755"/>
                <a:gd name="connsiteX82" fmla="*/ 129108 w 199100"/>
                <a:gd name="connsiteY82" fmla="*/ 96348 h 190755"/>
                <a:gd name="connsiteX83" fmla="*/ 129108 w 199100"/>
                <a:gd name="connsiteY83" fmla="*/ 123526 h 190755"/>
                <a:gd name="connsiteX84" fmla="*/ 152722 w 199100"/>
                <a:gd name="connsiteY84" fmla="*/ 123526 h 190755"/>
                <a:gd name="connsiteX85" fmla="*/ 152722 w 199100"/>
                <a:gd name="connsiteY85" fmla="*/ 96348 h 190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199100" h="190755">
                  <a:moveTo>
                    <a:pt x="78379" y="8"/>
                  </a:moveTo>
                  <a:lnTo>
                    <a:pt x="120719" y="8"/>
                  </a:lnTo>
                  <a:cubicBezTo>
                    <a:pt x="133003" y="40"/>
                    <a:pt x="142959" y="9979"/>
                    <a:pt x="143014" y="22263"/>
                  </a:cubicBezTo>
                  <a:lnTo>
                    <a:pt x="143014" y="29155"/>
                  </a:lnTo>
                  <a:lnTo>
                    <a:pt x="159711" y="29155"/>
                  </a:lnTo>
                  <a:cubicBezTo>
                    <a:pt x="181431" y="29198"/>
                    <a:pt x="199035" y="46783"/>
                    <a:pt x="199100" y="68503"/>
                  </a:cubicBezTo>
                  <a:lnTo>
                    <a:pt x="199100" y="151370"/>
                  </a:lnTo>
                  <a:cubicBezTo>
                    <a:pt x="199017" y="173089"/>
                    <a:pt x="181430" y="190674"/>
                    <a:pt x="159711" y="190755"/>
                  </a:cubicBezTo>
                  <a:lnTo>
                    <a:pt x="39385" y="190755"/>
                  </a:lnTo>
                  <a:cubicBezTo>
                    <a:pt x="28944" y="190753"/>
                    <a:pt x="18936" y="186585"/>
                    <a:pt x="11581" y="179176"/>
                  </a:cubicBezTo>
                  <a:lnTo>
                    <a:pt x="11144" y="178699"/>
                  </a:lnTo>
                  <a:cubicBezTo>
                    <a:pt x="4011" y="171387"/>
                    <a:pt x="12" y="161579"/>
                    <a:pt x="0" y="151363"/>
                  </a:cubicBezTo>
                  <a:lnTo>
                    <a:pt x="0" y="68495"/>
                  </a:lnTo>
                  <a:cubicBezTo>
                    <a:pt x="18" y="58068"/>
                    <a:pt x="4184" y="48077"/>
                    <a:pt x="11580" y="40727"/>
                  </a:cubicBezTo>
                  <a:lnTo>
                    <a:pt x="11580" y="40687"/>
                  </a:lnTo>
                  <a:lnTo>
                    <a:pt x="11580" y="40687"/>
                  </a:lnTo>
                  <a:cubicBezTo>
                    <a:pt x="18941" y="33290"/>
                    <a:pt x="28949" y="29136"/>
                    <a:pt x="39384" y="29147"/>
                  </a:cubicBezTo>
                  <a:lnTo>
                    <a:pt x="56085" y="29147"/>
                  </a:lnTo>
                  <a:lnTo>
                    <a:pt x="56085" y="22255"/>
                  </a:lnTo>
                  <a:cubicBezTo>
                    <a:pt x="56121" y="9966"/>
                    <a:pt x="66085" y="18"/>
                    <a:pt x="78374" y="0"/>
                  </a:cubicBezTo>
                  <a:close/>
                  <a:moveTo>
                    <a:pt x="139272" y="44477"/>
                  </a:moveTo>
                  <a:lnTo>
                    <a:pt x="139272" y="44477"/>
                  </a:lnTo>
                  <a:cubicBezTo>
                    <a:pt x="138992" y="44525"/>
                    <a:pt x="138709" y="44550"/>
                    <a:pt x="138425" y="44554"/>
                  </a:cubicBezTo>
                  <a:lnTo>
                    <a:pt x="60676" y="44554"/>
                  </a:lnTo>
                  <a:cubicBezTo>
                    <a:pt x="60386" y="44548"/>
                    <a:pt x="60096" y="44522"/>
                    <a:pt x="59809" y="44477"/>
                  </a:cubicBezTo>
                  <a:lnTo>
                    <a:pt x="39385" y="44477"/>
                  </a:lnTo>
                  <a:cubicBezTo>
                    <a:pt x="33013" y="44467"/>
                    <a:pt x="26901" y="47005"/>
                    <a:pt x="22410" y="51525"/>
                  </a:cubicBezTo>
                  <a:lnTo>
                    <a:pt x="22369" y="51525"/>
                  </a:lnTo>
                  <a:cubicBezTo>
                    <a:pt x="17872" y="56031"/>
                    <a:pt x="15344" y="62135"/>
                    <a:pt x="15339" y="68501"/>
                  </a:cubicBezTo>
                  <a:lnTo>
                    <a:pt x="15339" y="105363"/>
                  </a:lnTo>
                  <a:lnTo>
                    <a:pt x="37179" y="105363"/>
                  </a:lnTo>
                  <a:lnTo>
                    <a:pt x="37179" y="91738"/>
                  </a:lnTo>
                  <a:cubicBezTo>
                    <a:pt x="37183" y="89213"/>
                    <a:pt x="39233" y="87169"/>
                    <a:pt x="41758" y="87173"/>
                  </a:cubicBezTo>
                  <a:cubicBezTo>
                    <a:pt x="41761" y="87173"/>
                    <a:pt x="41765" y="87173"/>
                    <a:pt x="41769" y="87173"/>
                  </a:cubicBezTo>
                  <a:lnTo>
                    <a:pt x="74559" y="87173"/>
                  </a:lnTo>
                  <a:cubicBezTo>
                    <a:pt x="77095" y="87162"/>
                    <a:pt x="79163" y="89202"/>
                    <a:pt x="79185" y="91738"/>
                  </a:cubicBezTo>
                  <a:lnTo>
                    <a:pt x="79185" y="105367"/>
                  </a:lnTo>
                  <a:lnTo>
                    <a:pt x="119912" y="105367"/>
                  </a:lnTo>
                  <a:lnTo>
                    <a:pt x="119912" y="91738"/>
                  </a:lnTo>
                  <a:cubicBezTo>
                    <a:pt x="119936" y="89203"/>
                    <a:pt x="122003" y="87163"/>
                    <a:pt x="124538" y="87173"/>
                  </a:cubicBezTo>
                  <a:lnTo>
                    <a:pt x="157305" y="87173"/>
                  </a:lnTo>
                  <a:cubicBezTo>
                    <a:pt x="159833" y="87155"/>
                    <a:pt x="161897" y="89191"/>
                    <a:pt x="161915" y="91720"/>
                  </a:cubicBezTo>
                  <a:cubicBezTo>
                    <a:pt x="161915" y="91726"/>
                    <a:pt x="161915" y="91732"/>
                    <a:pt x="161915" y="91738"/>
                  </a:cubicBezTo>
                  <a:lnTo>
                    <a:pt x="161915" y="105367"/>
                  </a:lnTo>
                  <a:lnTo>
                    <a:pt x="183754" y="105367"/>
                  </a:lnTo>
                  <a:lnTo>
                    <a:pt x="183754" y="68505"/>
                  </a:lnTo>
                  <a:cubicBezTo>
                    <a:pt x="183729" y="55238"/>
                    <a:pt x="172975" y="44492"/>
                    <a:pt x="159708" y="44479"/>
                  </a:cubicBezTo>
                  <a:close/>
                  <a:moveTo>
                    <a:pt x="65303" y="29155"/>
                  </a:moveTo>
                  <a:lnTo>
                    <a:pt x="133815" y="29155"/>
                  </a:lnTo>
                  <a:lnTo>
                    <a:pt x="133815" y="22263"/>
                  </a:lnTo>
                  <a:cubicBezTo>
                    <a:pt x="133796" y="15041"/>
                    <a:pt x="127941" y="9195"/>
                    <a:pt x="120719" y="9187"/>
                  </a:cubicBezTo>
                  <a:lnTo>
                    <a:pt x="78379" y="9187"/>
                  </a:lnTo>
                  <a:cubicBezTo>
                    <a:pt x="71176" y="9167"/>
                    <a:pt x="65322" y="14990"/>
                    <a:pt x="65303" y="22192"/>
                  </a:cubicBezTo>
                  <a:cubicBezTo>
                    <a:pt x="65303" y="22216"/>
                    <a:pt x="65303" y="22239"/>
                    <a:pt x="65303" y="22263"/>
                  </a:cubicBezTo>
                  <a:lnTo>
                    <a:pt x="65303" y="29155"/>
                  </a:lnTo>
                  <a:close/>
                  <a:moveTo>
                    <a:pt x="15339" y="114547"/>
                  </a:moveTo>
                  <a:lnTo>
                    <a:pt x="15339" y="114547"/>
                  </a:lnTo>
                  <a:lnTo>
                    <a:pt x="15339" y="151373"/>
                  </a:lnTo>
                  <a:cubicBezTo>
                    <a:pt x="15333" y="157606"/>
                    <a:pt x="17756" y="163595"/>
                    <a:pt x="22094" y="168071"/>
                  </a:cubicBezTo>
                  <a:lnTo>
                    <a:pt x="22410" y="168350"/>
                  </a:lnTo>
                  <a:cubicBezTo>
                    <a:pt x="26897" y="172881"/>
                    <a:pt x="33008" y="175432"/>
                    <a:pt x="39385" y="175435"/>
                  </a:cubicBezTo>
                  <a:lnTo>
                    <a:pt x="159711" y="175435"/>
                  </a:lnTo>
                  <a:cubicBezTo>
                    <a:pt x="172979" y="175389"/>
                    <a:pt x="183720" y="164640"/>
                    <a:pt x="183757" y="151373"/>
                  </a:cubicBezTo>
                  <a:lnTo>
                    <a:pt x="183757" y="114547"/>
                  </a:lnTo>
                  <a:lnTo>
                    <a:pt x="161919" y="114547"/>
                  </a:lnTo>
                  <a:lnTo>
                    <a:pt x="161919" y="128134"/>
                  </a:lnTo>
                  <a:cubicBezTo>
                    <a:pt x="161915" y="130679"/>
                    <a:pt x="159853" y="132741"/>
                    <a:pt x="157308" y="132744"/>
                  </a:cubicBezTo>
                  <a:lnTo>
                    <a:pt x="124542" y="132744"/>
                  </a:lnTo>
                  <a:cubicBezTo>
                    <a:pt x="121998" y="132733"/>
                    <a:pt x="119936" y="130678"/>
                    <a:pt x="119916" y="128134"/>
                  </a:cubicBezTo>
                  <a:lnTo>
                    <a:pt x="119916" y="114547"/>
                  </a:lnTo>
                  <a:lnTo>
                    <a:pt x="79189" y="114547"/>
                  </a:lnTo>
                  <a:lnTo>
                    <a:pt x="79189" y="128134"/>
                  </a:lnTo>
                  <a:cubicBezTo>
                    <a:pt x="79170" y="130679"/>
                    <a:pt x="77108" y="132734"/>
                    <a:pt x="74563" y="132744"/>
                  </a:cubicBezTo>
                  <a:lnTo>
                    <a:pt x="41773" y="132744"/>
                  </a:lnTo>
                  <a:cubicBezTo>
                    <a:pt x="39235" y="132732"/>
                    <a:pt x="37184" y="130672"/>
                    <a:pt x="37183" y="128134"/>
                  </a:cubicBezTo>
                  <a:lnTo>
                    <a:pt x="37183" y="114547"/>
                  </a:lnTo>
                  <a:close/>
                  <a:moveTo>
                    <a:pt x="69969" y="96348"/>
                  </a:moveTo>
                  <a:lnTo>
                    <a:pt x="46358" y="96348"/>
                  </a:lnTo>
                  <a:lnTo>
                    <a:pt x="46358" y="123526"/>
                  </a:lnTo>
                  <a:lnTo>
                    <a:pt x="69969" y="123526"/>
                  </a:lnTo>
                  <a:lnTo>
                    <a:pt x="69969" y="96348"/>
                  </a:lnTo>
                  <a:close/>
                  <a:moveTo>
                    <a:pt x="152722" y="96348"/>
                  </a:moveTo>
                  <a:lnTo>
                    <a:pt x="129108" y="96348"/>
                  </a:lnTo>
                  <a:lnTo>
                    <a:pt x="129108" y="123526"/>
                  </a:lnTo>
                  <a:lnTo>
                    <a:pt x="152722" y="123526"/>
                  </a:lnTo>
                  <a:lnTo>
                    <a:pt x="152722" y="96348"/>
                  </a:lnTo>
                  <a:close/>
                </a:path>
              </a:pathLst>
            </a:custGeom>
            <a:solidFill>
              <a:srgbClr val="BFBFB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70" name="Textfeld 69"/>
          <p:cNvSpPr txBox="1"/>
          <p:nvPr/>
        </p:nvSpPr>
        <p:spPr>
          <a:xfrm>
            <a:off x="4688540" y="2357719"/>
            <a:ext cx="2196352" cy="5416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de-DE" sz="1600" dirty="0">
                <a:ea typeface="Open Sans" panose="020B0606030504020204" pitchFamily="34" charset="0"/>
                <a:cs typeface="Open Sans" panose="020B0606030504020204" pitchFamily="34" charset="0"/>
              </a:rPr>
              <a:t>Tool-Name</a:t>
            </a:r>
          </a:p>
          <a:p>
            <a:pPr algn="l">
              <a:lnSpc>
                <a:spcPct val="110000"/>
              </a:lnSpc>
            </a:pPr>
            <a:r>
              <a:rPr lang="de-DE" sz="1600" dirty="0">
                <a:ea typeface="Open Sans" panose="020B0606030504020204" pitchFamily="34" charset="0"/>
                <a:cs typeface="Open Sans" panose="020B0606030504020204" pitchFamily="34" charset="0"/>
              </a:rPr>
              <a:t>Inputs</a:t>
            </a:r>
          </a:p>
        </p:txBody>
      </p:sp>
      <p:sp>
        <p:nvSpPr>
          <p:cNvPr id="71" name="Textfeld 70"/>
          <p:cNvSpPr txBox="1"/>
          <p:nvPr/>
        </p:nvSpPr>
        <p:spPr>
          <a:xfrm>
            <a:off x="1731765" y="2593647"/>
            <a:ext cx="1865695" cy="2708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de-DE" sz="1600" dirty="0">
                <a:ea typeface="Open Sans" panose="020B0606030504020204" pitchFamily="34" charset="0"/>
                <a:cs typeface="Open Sans" panose="020B0606030504020204" pitchFamily="34" charset="0"/>
              </a:rPr>
              <a:t>Query (Prompt)</a:t>
            </a:r>
          </a:p>
        </p:txBody>
      </p:sp>
      <p:sp>
        <p:nvSpPr>
          <p:cNvPr id="72" name="Textfeld 71"/>
          <p:cNvSpPr txBox="1"/>
          <p:nvPr/>
        </p:nvSpPr>
        <p:spPr>
          <a:xfrm>
            <a:off x="4322142" y="5190682"/>
            <a:ext cx="1865695" cy="2468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de-DE" sz="1600" dirty="0">
                <a:ea typeface="Open Sans" panose="020B0606030504020204" pitchFamily="34" charset="0"/>
                <a:cs typeface="Open Sans" panose="020B0606030504020204" pitchFamily="34" charset="0"/>
              </a:rPr>
              <a:t>Outputs</a:t>
            </a:r>
          </a:p>
        </p:txBody>
      </p:sp>
      <p:sp>
        <p:nvSpPr>
          <p:cNvPr id="73" name="Textfeld 72"/>
          <p:cNvSpPr txBox="1"/>
          <p:nvPr/>
        </p:nvSpPr>
        <p:spPr>
          <a:xfrm>
            <a:off x="1731764" y="5190682"/>
            <a:ext cx="1865695" cy="2468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de-DE" sz="1600" dirty="0">
                <a:ea typeface="Open Sans" panose="020B0606030504020204" pitchFamily="34" charset="0"/>
                <a:cs typeface="Open Sans" panose="020B0606030504020204" pitchFamily="34" charset="0"/>
              </a:rPr>
              <a:t>Response</a:t>
            </a:r>
          </a:p>
        </p:txBody>
      </p:sp>
      <p:grpSp>
        <p:nvGrpSpPr>
          <p:cNvPr id="102" name="Gruppieren 101"/>
          <p:cNvGrpSpPr/>
          <p:nvPr/>
        </p:nvGrpSpPr>
        <p:grpSpPr>
          <a:xfrm>
            <a:off x="1142558" y="3600000"/>
            <a:ext cx="936000" cy="1402854"/>
            <a:chOff x="9654747" y="2277839"/>
            <a:chExt cx="936000" cy="1402854"/>
          </a:xfrm>
        </p:grpSpPr>
        <p:sp>
          <p:nvSpPr>
            <p:cNvPr id="88" name="Freeform: Shape 380">
              <a:extLst>
                <a:ext uri="{FF2B5EF4-FFF2-40B4-BE49-F238E27FC236}">
                  <a16:creationId xmlns:a16="http://schemas.microsoft.com/office/drawing/2014/main" id="{832FD4CD-81B1-424E-9309-E03B59C22A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54747" y="2277839"/>
              <a:ext cx="936000" cy="936000"/>
            </a:xfrm>
            <a:custGeom>
              <a:avLst/>
              <a:gdLst>
                <a:gd name="connsiteX0" fmla="*/ 0 w 306268"/>
                <a:gd name="connsiteY0" fmla="*/ 0 h 306268"/>
                <a:gd name="connsiteX1" fmla="*/ 306269 w 306268"/>
                <a:gd name="connsiteY1" fmla="*/ 0 h 306268"/>
                <a:gd name="connsiteX2" fmla="*/ 306269 w 306268"/>
                <a:gd name="connsiteY2" fmla="*/ 306269 h 306268"/>
                <a:gd name="connsiteX3" fmla="*/ 0 w 306268"/>
                <a:gd name="connsiteY3" fmla="*/ 306269 h 3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268" h="306268">
                  <a:moveTo>
                    <a:pt x="0" y="0"/>
                  </a:moveTo>
                  <a:lnTo>
                    <a:pt x="306269" y="0"/>
                  </a:lnTo>
                  <a:lnTo>
                    <a:pt x="306269" y="306269"/>
                  </a:lnTo>
                  <a:lnTo>
                    <a:pt x="0" y="306269"/>
                  </a:lnTo>
                  <a:close/>
                </a:path>
              </a:pathLst>
            </a:custGeom>
            <a:solidFill>
              <a:schemeClr val="bg1"/>
            </a:solidFill>
            <a:ln w="19050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sz="2400" dirty="0">
                <a:latin typeface="Lato" panose="020F0502020204030203" pitchFamily="34" charset="0"/>
              </a:endParaRPr>
            </a:p>
          </p:txBody>
        </p:sp>
        <p:sp>
          <p:nvSpPr>
            <p:cNvPr id="13" name="Ellipse 12"/>
            <p:cNvSpPr/>
            <p:nvPr/>
          </p:nvSpPr>
          <p:spPr>
            <a:xfrm>
              <a:off x="10020332" y="2436084"/>
              <a:ext cx="217133" cy="268841"/>
            </a:xfrm>
            <a:prstGeom prst="ellipse">
              <a:avLst/>
            </a:prstGeom>
            <a:noFill/>
            <a:ln w="25400">
              <a:solidFill>
                <a:srgbClr val="BFBFBF"/>
              </a:solidFill>
            </a:ln>
          </p:spPr>
          <p:txBody>
            <a:bodyPr wrap="square" rtlCol="0" anchor="ctr">
              <a:spAutoFit/>
            </a:bodyPr>
            <a:lstStyle/>
            <a:p>
              <a:pPr algn="l">
                <a:lnSpc>
                  <a:spcPct val="120000"/>
                </a:lnSpc>
                <a:buSzPct val="90000"/>
              </a:pPr>
              <a:endParaRPr lang="de-DE" sz="1600" b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grpSp>
          <p:nvGrpSpPr>
            <p:cNvPr id="99" name="Gruppieren 98"/>
            <p:cNvGrpSpPr/>
            <p:nvPr/>
          </p:nvGrpSpPr>
          <p:grpSpPr>
            <a:xfrm>
              <a:off x="9849227" y="2749755"/>
              <a:ext cx="557445" cy="930938"/>
              <a:chOff x="10628639" y="1971954"/>
              <a:chExt cx="1004541" cy="1159251"/>
            </a:xfrm>
          </p:grpSpPr>
          <p:cxnSp>
            <p:nvCxnSpPr>
              <p:cNvPr id="17" name="Gerader Verbinder 16"/>
              <p:cNvCxnSpPr/>
              <p:nvPr/>
            </p:nvCxnSpPr>
            <p:spPr>
              <a:xfrm>
                <a:off x="10927377" y="1976571"/>
                <a:ext cx="197763" cy="207899"/>
              </a:xfrm>
              <a:prstGeom prst="line">
                <a:avLst/>
              </a:prstGeom>
              <a:ln w="19050">
                <a:solidFill>
                  <a:srgbClr val="BFBFBF"/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95" name="Gerader Verbinder 94"/>
              <p:cNvCxnSpPr/>
              <p:nvPr/>
            </p:nvCxnSpPr>
            <p:spPr>
              <a:xfrm flipH="1">
                <a:off x="11121534" y="1974842"/>
                <a:ext cx="206728" cy="209628"/>
              </a:xfrm>
              <a:prstGeom prst="line">
                <a:avLst/>
              </a:prstGeom>
              <a:ln w="19050">
                <a:solidFill>
                  <a:srgbClr val="BFBFBF"/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55" name="Bogen 54"/>
              <p:cNvSpPr/>
              <p:nvPr/>
            </p:nvSpPr>
            <p:spPr>
              <a:xfrm>
                <a:off x="11023344" y="1971954"/>
                <a:ext cx="609836" cy="1159251"/>
              </a:xfrm>
              <a:prstGeom prst="arc">
                <a:avLst/>
              </a:prstGeom>
              <a:ln w="19050">
                <a:solidFill>
                  <a:srgbClr val="BFBF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6" name="Bogen 95"/>
              <p:cNvSpPr/>
              <p:nvPr/>
            </p:nvSpPr>
            <p:spPr>
              <a:xfrm flipH="1">
                <a:off x="10628639" y="1971954"/>
                <a:ext cx="586760" cy="1159251"/>
              </a:xfrm>
              <a:prstGeom prst="arc">
                <a:avLst/>
              </a:prstGeom>
              <a:ln w="19050">
                <a:solidFill>
                  <a:srgbClr val="BFBF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58" name="Gerader Verbinder 57"/>
              <p:cNvCxnSpPr>
                <a:stCxn id="96" idx="0"/>
                <a:endCxn id="55" idx="0"/>
              </p:cNvCxnSpPr>
              <p:nvPr/>
            </p:nvCxnSpPr>
            <p:spPr>
              <a:xfrm>
                <a:off x="10922019" y="1971954"/>
                <a:ext cx="406243" cy="0"/>
              </a:xfrm>
              <a:prstGeom prst="line">
                <a:avLst/>
              </a:prstGeom>
              <a:ln w="19050">
                <a:solidFill>
                  <a:srgbClr val="BFBF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91" name="Abgerundetes Rechteck 90"/>
          <p:cNvSpPr/>
          <p:nvPr/>
        </p:nvSpPr>
        <p:spPr>
          <a:xfrm>
            <a:off x="7077832" y="1441241"/>
            <a:ext cx="3657459" cy="405998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 anchor="ctr">
            <a:spAutoFit/>
          </a:bodyPr>
          <a:lstStyle/>
          <a:p>
            <a:pPr algn="l">
              <a:lnSpc>
                <a:spcPct val="120000"/>
              </a:lnSpc>
              <a:buSzPct val="90000"/>
            </a:pP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alculate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git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m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f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42.</a:t>
            </a:r>
          </a:p>
        </p:txBody>
      </p:sp>
      <p:sp>
        <p:nvSpPr>
          <p:cNvPr id="94" name="Abgerundetes Rechteck 93"/>
          <p:cNvSpPr/>
          <p:nvPr/>
        </p:nvSpPr>
        <p:spPr>
          <a:xfrm>
            <a:off x="7049875" y="1879294"/>
            <a:ext cx="3941805" cy="1409748"/>
          </a:xfrm>
          <a:prstGeom prst="roundRect">
            <a:avLst/>
          </a:prstGeom>
          <a:solidFill>
            <a:schemeClr val="accent6"/>
          </a:solidFill>
        </p:spPr>
        <p:txBody>
          <a:bodyPr wrap="square" rtlCol="0" anchor="ctr">
            <a:spAutoFit/>
          </a:bodyPr>
          <a:lstStyle/>
          <a:p>
            <a:pPr algn="l">
              <a:lnSpc>
                <a:spcPct val="120000"/>
              </a:lnSpc>
              <a:buSzPct val="90000"/>
            </a:pP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git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m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f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atural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umber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s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m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f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ts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gits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r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umber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42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t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(4 + 2 = 6)</a:t>
            </a:r>
          </a:p>
          <a:p>
            <a:pPr algn="l">
              <a:lnSpc>
                <a:spcPct val="120000"/>
              </a:lnSpc>
              <a:buSzPct val="90000"/>
            </a:pP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git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m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f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42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s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6.</a:t>
            </a:r>
          </a:p>
        </p:txBody>
      </p:sp>
      <p:sp>
        <p:nvSpPr>
          <p:cNvPr id="52" name="Abgerundetes Rechteck 51"/>
          <p:cNvSpPr/>
          <p:nvPr/>
        </p:nvSpPr>
        <p:spPr>
          <a:xfrm>
            <a:off x="7039977" y="3328160"/>
            <a:ext cx="3657459" cy="755952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 anchor="ctr">
            <a:spAutoFit/>
          </a:bodyPr>
          <a:lstStyle/>
          <a:p>
            <a:pPr algn="l">
              <a:lnSpc>
                <a:spcPct val="120000"/>
              </a:lnSpc>
              <a:buSzPct val="90000"/>
            </a:pP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w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ny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tters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re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ord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zweiundvierzig?</a:t>
            </a:r>
          </a:p>
        </p:txBody>
      </p:sp>
      <p:sp>
        <p:nvSpPr>
          <p:cNvPr id="56" name="Abgerundetes Rechteck 55"/>
          <p:cNvSpPr/>
          <p:nvPr/>
        </p:nvSpPr>
        <p:spPr>
          <a:xfrm>
            <a:off x="7057495" y="4104334"/>
            <a:ext cx="3941805" cy="1409748"/>
          </a:xfrm>
          <a:prstGeom prst="roundRect">
            <a:avLst/>
          </a:prstGeom>
          <a:solidFill>
            <a:schemeClr val="accent6"/>
          </a:solidFill>
        </p:spPr>
        <p:txBody>
          <a:bodyPr wrap="square" rtlCol="0" anchor="ctr">
            <a:spAutoFit/>
          </a:bodyPr>
          <a:lstStyle/>
          <a:p>
            <a:pPr algn="l">
              <a:lnSpc>
                <a:spcPct val="120000"/>
              </a:lnSpc>
              <a:buSzPct val="90000"/>
            </a:pPr>
            <a:r>
              <a:rPr lang="en-US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word “</a:t>
            </a:r>
            <a:r>
              <a:rPr lang="en-US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zweiundvierzig</a:t>
            </a:r>
            <a:r>
              <a:rPr lang="en-US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” consists of the following letters: </a:t>
            </a:r>
            <a:r>
              <a:rPr lang="en-US" sz="1600" b="1" dirty="0" err="1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zweiundvierzig</a:t>
            </a:r>
            <a:r>
              <a:rPr lang="en-US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Number of letters: </a:t>
            </a:r>
            <a:r>
              <a:rPr lang="de-DE" sz="1600" b="1" dirty="0">
                <a:solidFill>
                  <a:srgbClr val="D568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5</a:t>
            </a:r>
            <a:r>
              <a:rPr lang="de-DE" sz="16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</p:txBody>
      </p:sp>
      <p:cxnSp>
        <p:nvCxnSpPr>
          <p:cNvPr id="64" name="Gerade Verbindung mit Pfeil 63"/>
          <p:cNvCxnSpPr/>
          <p:nvPr/>
        </p:nvCxnSpPr>
        <p:spPr>
          <a:xfrm flipV="1">
            <a:off x="7353300" y="5388797"/>
            <a:ext cx="881" cy="381739"/>
          </a:xfrm>
          <a:prstGeom prst="straightConnector1">
            <a:avLst/>
          </a:prstGeom>
          <a:ln w="22225">
            <a:solidFill>
              <a:srgbClr val="D5685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/>
          <p:cNvSpPr txBox="1"/>
          <p:nvPr/>
        </p:nvSpPr>
        <p:spPr>
          <a:xfrm>
            <a:off x="6164580" y="5737860"/>
            <a:ext cx="2786019" cy="2708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1600" dirty="0">
                <a:solidFill>
                  <a:srgbClr val="D568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 careful of “hallucinations”!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9DDC93F-FE01-E4D5-B601-761B3FAA5FE8}"/>
              </a:ext>
            </a:extLst>
          </p:cNvPr>
          <p:cNvCxnSpPr/>
          <p:nvPr/>
        </p:nvCxnSpPr>
        <p:spPr>
          <a:xfrm flipV="1">
            <a:off x="4236301" y="2509252"/>
            <a:ext cx="2182353" cy="2879545"/>
          </a:xfrm>
          <a:prstGeom prst="line">
            <a:avLst/>
          </a:prstGeom>
          <a:ln w="666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11140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6" name="Shape">
            <a:extLst>
              <a:ext uri="{FF2B5EF4-FFF2-40B4-BE49-F238E27FC236}">
                <a16:creationId xmlns:a16="http://schemas.microsoft.com/office/drawing/2014/main" id="{23F6DF4B-794F-451C-B676-5D27161C9985}"/>
              </a:ext>
            </a:extLst>
          </p:cNvPr>
          <p:cNvSpPr>
            <a:spLocks/>
          </p:cNvSpPr>
          <p:nvPr/>
        </p:nvSpPr>
        <p:spPr bwMode="auto">
          <a:xfrm>
            <a:off x="1527969" y="1242976"/>
            <a:ext cx="9136063" cy="4592637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950"/>
                </a:lnTo>
                <a:lnTo>
                  <a:pt x="0" y="3838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1950"/>
                </a:lnTo>
                <a:lnTo>
                  <a:pt x="1020" y="1950"/>
                </a:lnTo>
                <a:lnTo>
                  <a:pt x="0" y="0"/>
                </a:lnTo>
                <a:close/>
              </a:path>
            </a:pathLst>
          </a:custGeom>
          <a:noFill/>
          <a:ln w="28575">
            <a:solidFill>
              <a:srgbClr val="00A0D2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45720" bIns="45720" anchor="ctr"/>
          <a:lstStyle/>
          <a:p>
            <a:endParaRPr lang="en-US" sz="900" dirty="0">
              <a:latin typeface="Lato" panose="020F0502020204030203" pitchFamily="34" charset="0"/>
            </a:endParaRPr>
          </a:p>
        </p:txBody>
      </p:sp>
      <p:sp>
        <p:nvSpPr>
          <p:cNvPr id="10" name="Circle">
            <a:extLst>
              <a:ext uri="{FF2B5EF4-FFF2-40B4-BE49-F238E27FC236}">
                <a16:creationId xmlns:a16="http://schemas.microsoft.com/office/drawing/2014/main" id="{A82A7D2A-9755-4A79-A91D-BF4BDC4144D9}"/>
              </a:ext>
            </a:extLst>
          </p:cNvPr>
          <p:cNvSpPr/>
          <p:nvPr/>
        </p:nvSpPr>
        <p:spPr>
          <a:xfrm>
            <a:off x="542591" y="2254063"/>
            <a:ext cx="1507544" cy="1507544"/>
          </a:xfrm>
          <a:prstGeom prst="ellipse">
            <a:avLst/>
          </a:prstGeom>
          <a:solidFill>
            <a:srgbClr val="3E4D6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>
              <a:lnSpc>
                <a:spcPct val="100000"/>
              </a:lnSpc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 dirty="0">
              <a:latin typeface="Lato" panose="020F0502020204030203" pitchFamily="34" charset="0"/>
            </a:endParaRPr>
          </a:p>
        </p:txBody>
      </p:sp>
      <p:sp>
        <p:nvSpPr>
          <p:cNvPr id="13" name="Circle">
            <a:extLst>
              <a:ext uri="{FF2B5EF4-FFF2-40B4-BE49-F238E27FC236}">
                <a16:creationId xmlns:a16="http://schemas.microsoft.com/office/drawing/2014/main" id="{89570446-EE12-406E-B63D-1A9C8E09FF72}"/>
              </a:ext>
            </a:extLst>
          </p:cNvPr>
          <p:cNvSpPr/>
          <p:nvPr/>
        </p:nvSpPr>
        <p:spPr>
          <a:xfrm>
            <a:off x="1202992" y="4755964"/>
            <a:ext cx="1507544" cy="1507544"/>
          </a:xfrm>
          <a:prstGeom prst="ellipse">
            <a:avLst/>
          </a:prstGeom>
          <a:solidFill>
            <a:srgbClr val="D56854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>
              <a:lnSpc>
                <a:spcPct val="100000"/>
              </a:lnSpc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 dirty="0">
              <a:latin typeface="Lato" panose="020F0502020204030203" pitchFamily="34" charset="0"/>
            </a:endParaRPr>
          </a:p>
        </p:txBody>
      </p:sp>
      <p:sp>
        <p:nvSpPr>
          <p:cNvPr id="15" name="Circle">
            <a:extLst>
              <a:ext uri="{FF2B5EF4-FFF2-40B4-BE49-F238E27FC236}">
                <a16:creationId xmlns:a16="http://schemas.microsoft.com/office/drawing/2014/main" id="{0E22BEB1-048C-4C81-909F-73081F7568E5}"/>
              </a:ext>
            </a:extLst>
          </p:cNvPr>
          <p:cNvSpPr/>
          <p:nvPr/>
        </p:nvSpPr>
        <p:spPr>
          <a:xfrm>
            <a:off x="2262514" y="3458021"/>
            <a:ext cx="1091961" cy="1091961"/>
          </a:xfrm>
          <a:prstGeom prst="ellipse">
            <a:avLst/>
          </a:prstGeom>
          <a:solidFill>
            <a:srgbClr val="00A0D2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>
              <a:lnSpc>
                <a:spcPct val="100000"/>
              </a:lnSpc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 dirty="0">
              <a:latin typeface="Lato" panose="020F0502020204030203" pitchFamily="34" charset="0"/>
            </a:endParaRPr>
          </a:p>
        </p:txBody>
      </p:sp>
      <p:sp>
        <p:nvSpPr>
          <p:cNvPr id="16" name="Circle">
            <a:extLst>
              <a:ext uri="{FF2B5EF4-FFF2-40B4-BE49-F238E27FC236}">
                <a16:creationId xmlns:a16="http://schemas.microsoft.com/office/drawing/2014/main" id="{E0FC1387-4F93-402D-85CF-902DA96C9B1C}"/>
              </a:ext>
            </a:extLst>
          </p:cNvPr>
          <p:cNvSpPr/>
          <p:nvPr/>
        </p:nvSpPr>
        <p:spPr>
          <a:xfrm>
            <a:off x="-262048" y="5615025"/>
            <a:ext cx="3116823" cy="3116823"/>
          </a:xfrm>
          <a:prstGeom prst="ellipse">
            <a:avLst/>
          </a:prstGeom>
          <a:solidFill>
            <a:srgbClr val="3E4D6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>
              <a:lnSpc>
                <a:spcPct val="100000"/>
              </a:lnSpc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 dirty="0">
              <a:latin typeface="Lato" panose="020F0502020204030203" pitchFamily="34" charset="0"/>
            </a:endParaRPr>
          </a:p>
        </p:txBody>
      </p:sp>
      <p:sp>
        <p:nvSpPr>
          <p:cNvPr id="17" name="Circle">
            <a:extLst>
              <a:ext uri="{FF2B5EF4-FFF2-40B4-BE49-F238E27FC236}">
                <a16:creationId xmlns:a16="http://schemas.microsoft.com/office/drawing/2014/main" id="{03EF44AB-A3F7-4444-8835-3C1D8F5D439F}"/>
              </a:ext>
            </a:extLst>
          </p:cNvPr>
          <p:cNvSpPr/>
          <p:nvPr/>
        </p:nvSpPr>
        <p:spPr>
          <a:xfrm>
            <a:off x="1725603" y="3591733"/>
            <a:ext cx="462323" cy="462323"/>
          </a:xfrm>
          <a:prstGeom prst="ellipse">
            <a:avLst/>
          </a:prstGeom>
          <a:solidFill>
            <a:srgbClr val="00A0D2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>
              <a:lnSpc>
                <a:spcPct val="100000"/>
              </a:lnSpc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 dirty="0">
              <a:latin typeface="Lato" panose="020F0502020204030203" pitchFamily="34" charset="0"/>
            </a:endParaRPr>
          </a:p>
        </p:txBody>
      </p:sp>
      <p:sp>
        <p:nvSpPr>
          <p:cNvPr id="19" name="Circle">
            <a:extLst>
              <a:ext uri="{FF2B5EF4-FFF2-40B4-BE49-F238E27FC236}">
                <a16:creationId xmlns:a16="http://schemas.microsoft.com/office/drawing/2014/main" id="{604A1D68-8DD2-4A0C-AA0B-2F0415821A11}"/>
              </a:ext>
            </a:extLst>
          </p:cNvPr>
          <p:cNvSpPr/>
          <p:nvPr/>
        </p:nvSpPr>
        <p:spPr>
          <a:xfrm>
            <a:off x="2165147" y="2895266"/>
            <a:ext cx="783940" cy="783940"/>
          </a:xfrm>
          <a:prstGeom prst="ellipse">
            <a:avLst/>
          </a:prstGeom>
          <a:solidFill>
            <a:srgbClr val="D56854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>
              <a:lnSpc>
                <a:spcPct val="100000"/>
              </a:lnSpc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 dirty="0">
              <a:latin typeface="Lato" panose="020F0502020204030203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F615254-02DA-4E29-9ABC-7839F9C34A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F615254-02DA-4E29-9ABC-7839F9C34A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24" name="Graphic 32">
            <a:extLst>
              <a:ext uri="{FF2B5EF4-FFF2-40B4-BE49-F238E27FC236}">
                <a16:creationId xmlns:a16="http://schemas.microsoft.com/office/drawing/2014/main" id="{BD00C59A-2FAB-4939-AE59-56B03D75A01F}"/>
              </a:ext>
            </a:extLst>
          </p:cNvPr>
          <p:cNvSpPr>
            <a:spLocks/>
          </p:cNvSpPr>
          <p:nvPr/>
        </p:nvSpPr>
        <p:spPr bwMode="auto">
          <a:xfrm>
            <a:off x="1956764" y="2008017"/>
            <a:ext cx="454025" cy="370681"/>
          </a:xfrm>
          <a:custGeom>
            <a:avLst/>
            <a:gdLst>
              <a:gd name="T0" fmla="*/ 802198359 w 21600"/>
              <a:gd name="T1" fmla="*/ 443430147 h 21434"/>
              <a:gd name="T2" fmla="*/ 802198359 w 21600"/>
              <a:gd name="T3" fmla="*/ 443430147 h 21434"/>
              <a:gd name="T4" fmla="*/ 802198359 w 21600"/>
              <a:gd name="T5" fmla="*/ 443430147 h 21434"/>
              <a:gd name="T6" fmla="*/ 802198359 w 21600"/>
              <a:gd name="T7" fmla="*/ 443430147 h 21434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434" extrusionOk="0">
                <a:moveTo>
                  <a:pt x="9818" y="13082"/>
                </a:moveTo>
                <a:lnTo>
                  <a:pt x="9818" y="17855"/>
                </a:lnTo>
                <a:cubicBezTo>
                  <a:pt x="9818" y="19832"/>
                  <a:pt x="8500" y="21434"/>
                  <a:pt x="6873" y="21434"/>
                </a:cubicBezTo>
                <a:lnTo>
                  <a:pt x="2945" y="21434"/>
                </a:lnTo>
                <a:cubicBezTo>
                  <a:pt x="1319" y="21434"/>
                  <a:pt x="0" y="19832"/>
                  <a:pt x="0" y="17855"/>
                </a:cubicBezTo>
                <a:lnTo>
                  <a:pt x="0" y="10696"/>
                </a:lnTo>
                <a:cubicBezTo>
                  <a:pt x="3" y="6546"/>
                  <a:pt x="1656" y="2654"/>
                  <a:pt x="4438" y="247"/>
                </a:cubicBezTo>
                <a:cubicBezTo>
                  <a:pt x="4874" y="-157"/>
                  <a:pt x="5498" y="-54"/>
                  <a:pt x="5830" y="476"/>
                </a:cubicBezTo>
                <a:cubicBezTo>
                  <a:pt x="5846" y="501"/>
                  <a:pt x="5860" y="526"/>
                  <a:pt x="5874" y="552"/>
                </a:cubicBezTo>
                <a:lnTo>
                  <a:pt x="6930" y="2568"/>
                </a:lnTo>
                <a:cubicBezTo>
                  <a:pt x="7202" y="3075"/>
                  <a:pt x="7113" y="3751"/>
                  <a:pt x="6723" y="4128"/>
                </a:cubicBezTo>
                <a:cubicBezTo>
                  <a:pt x="5252" y="5396"/>
                  <a:pt x="4271" y="7337"/>
                  <a:pt x="4003" y="9503"/>
                </a:cubicBezTo>
                <a:lnTo>
                  <a:pt x="6873" y="9503"/>
                </a:lnTo>
                <a:cubicBezTo>
                  <a:pt x="8500" y="9503"/>
                  <a:pt x="9818" y="11105"/>
                  <a:pt x="9818" y="13082"/>
                </a:cubicBezTo>
                <a:close/>
                <a:moveTo>
                  <a:pt x="18655" y="9503"/>
                </a:moveTo>
                <a:lnTo>
                  <a:pt x="15785" y="9503"/>
                </a:lnTo>
                <a:cubicBezTo>
                  <a:pt x="16052" y="7337"/>
                  <a:pt x="17034" y="5396"/>
                  <a:pt x="18504" y="4128"/>
                </a:cubicBezTo>
                <a:cubicBezTo>
                  <a:pt x="18894" y="3751"/>
                  <a:pt x="18984" y="3075"/>
                  <a:pt x="18711" y="2568"/>
                </a:cubicBezTo>
                <a:lnTo>
                  <a:pt x="17656" y="555"/>
                </a:lnTo>
                <a:cubicBezTo>
                  <a:pt x="17358" y="-5"/>
                  <a:pt x="16743" y="-166"/>
                  <a:pt x="16282" y="196"/>
                </a:cubicBezTo>
                <a:cubicBezTo>
                  <a:pt x="16261" y="213"/>
                  <a:pt x="16240" y="231"/>
                  <a:pt x="16220" y="249"/>
                </a:cubicBezTo>
                <a:cubicBezTo>
                  <a:pt x="13438" y="2656"/>
                  <a:pt x="11785" y="6547"/>
                  <a:pt x="11782" y="10696"/>
                </a:cubicBezTo>
                <a:lnTo>
                  <a:pt x="11782" y="17855"/>
                </a:lnTo>
                <a:cubicBezTo>
                  <a:pt x="11782" y="19832"/>
                  <a:pt x="13100" y="21434"/>
                  <a:pt x="14727" y="21434"/>
                </a:cubicBezTo>
                <a:lnTo>
                  <a:pt x="18655" y="21434"/>
                </a:lnTo>
                <a:cubicBezTo>
                  <a:pt x="20281" y="21434"/>
                  <a:pt x="21600" y="19832"/>
                  <a:pt x="21600" y="17855"/>
                </a:cubicBezTo>
                <a:lnTo>
                  <a:pt x="21600" y="13082"/>
                </a:lnTo>
                <a:cubicBezTo>
                  <a:pt x="21600" y="11105"/>
                  <a:pt x="20281" y="9503"/>
                  <a:pt x="18655" y="9503"/>
                </a:cubicBezTo>
                <a:close/>
              </a:path>
            </a:pathLst>
          </a:custGeom>
          <a:solidFill>
            <a:srgbClr val="B3B3B3"/>
          </a:solidFill>
          <a:ln>
            <a:noFill/>
          </a:ln>
        </p:spPr>
        <p:txBody>
          <a:bodyPr tIns="45720" bIns="45720" anchor="ctr"/>
          <a:lstStyle/>
          <a:p>
            <a:endParaRPr lang="en-US" sz="900" dirty="0">
              <a:solidFill>
                <a:srgbClr val="D56854"/>
              </a:solidFill>
              <a:latin typeface="Lato" panose="020F0502020204030203" pitchFamily="34" charset="0"/>
            </a:endParaRPr>
          </a:p>
        </p:txBody>
      </p:sp>
      <p:sp>
        <p:nvSpPr>
          <p:cNvPr id="30725" name="Graphic 34">
            <a:extLst>
              <a:ext uri="{FF2B5EF4-FFF2-40B4-BE49-F238E27FC236}">
                <a16:creationId xmlns:a16="http://schemas.microsoft.com/office/drawing/2014/main" id="{83BB695C-39BA-45E3-A53B-38F42D0537CC}"/>
              </a:ext>
            </a:extLst>
          </p:cNvPr>
          <p:cNvSpPr>
            <a:spLocks/>
          </p:cNvSpPr>
          <p:nvPr/>
        </p:nvSpPr>
        <p:spPr bwMode="auto">
          <a:xfrm>
            <a:off x="9780588" y="5047421"/>
            <a:ext cx="454025" cy="370681"/>
          </a:xfrm>
          <a:custGeom>
            <a:avLst/>
            <a:gdLst>
              <a:gd name="T0" fmla="*/ 802198359 w 21600"/>
              <a:gd name="T1" fmla="*/ 443430157 h 21434"/>
              <a:gd name="T2" fmla="*/ 802198359 w 21600"/>
              <a:gd name="T3" fmla="*/ 443430157 h 21434"/>
              <a:gd name="T4" fmla="*/ 802198359 w 21600"/>
              <a:gd name="T5" fmla="*/ 443430157 h 21434"/>
              <a:gd name="T6" fmla="*/ 802198359 w 21600"/>
              <a:gd name="T7" fmla="*/ 443430157 h 21434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434" extrusionOk="0">
                <a:moveTo>
                  <a:pt x="21600" y="3579"/>
                </a:moveTo>
                <a:lnTo>
                  <a:pt x="21600" y="10738"/>
                </a:lnTo>
                <a:cubicBezTo>
                  <a:pt x="21597" y="14888"/>
                  <a:pt x="19944" y="18780"/>
                  <a:pt x="17162" y="21187"/>
                </a:cubicBezTo>
                <a:cubicBezTo>
                  <a:pt x="16726" y="21591"/>
                  <a:pt x="16102" y="21488"/>
                  <a:pt x="15770" y="20958"/>
                </a:cubicBezTo>
                <a:cubicBezTo>
                  <a:pt x="15754" y="20933"/>
                  <a:pt x="15740" y="20908"/>
                  <a:pt x="15726" y="20882"/>
                </a:cubicBezTo>
                <a:lnTo>
                  <a:pt x="14670" y="18866"/>
                </a:lnTo>
                <a:cubicBezTo>
                  <a:pt x="14398" y="18359"/>
                  <a:pt x="14487" y="17683"/>
                  <a:pt x="14877" y="17306"/>
                </a:cubicBezTo>
                <a:cubicBezTo>
                  <a:pt x="16347" y="16039"/>
                  <a:pt x="17328" y="14101"/>
                  <a:pt x="17597" y="11937"/>
                </a:cubicBezTo>
                <a:lnTo>
                  <a:pt x="14727" y="11937"/>
                </a:lnTo>
                <a:cubicBezTo>
                  <a:pt x="13100" y="11937"/>
                  <a:pt x="11782" y="10335"/>
                  <a:pt x="11782" y="8358"/>
                </a:cubicBezTo>
                <a:lnTo>
                  <a:pt x="11782" y="3579"/>
                </a:lnTo>
                <a:cubicBezTo>
                  <a:pt x="11782" y="1603"/>
                  <a:pt x="13100" y="0"/>
                  <a:pt x="14727" y="0"/>
                </a:cubicBezTo>
                <a:lnTo>
                  <a:pt x="18655" y="0"/>
                </a:lnTo>
                <a:cubicBezTo>
                  <a:pt x="20281" y="0"/>
                  <a:pt x="21600" y="1603"/>
                  <a:pt x="21600" y="3579"/>
                </a:cubicBezTo>
                <a:close/>
                <a:moveTo>
                  <a:pt x="6873" y="0"/>
                </a:moveTo>
                <a:lnTo>
                  <a:pt x="2945" y="0"/>
                </a:lnTo>
                <a:cubicBezTo>
                  <a:pt x="1319" y="0"/>
                  <a:pt x="0" y="1603"/>
                  <a:pt x="0" y="3579"/>
                </a:cubicBezTo>
                <a:lnTo>
                  <a:pt x="0" y="8352"/>
                </a:lnTo>
                <a:cubicBezTo>
                  <a:pt x="0" y="10329"/>
                  <a:pt x="1319" y="11931"/>
                  <a:pt x="2945" y="11931"/>
                </a:cubicBezTo>
                <a:lnTo>
                  <a:pt x="5815" y="11931"/>
                </a:lnTo>
                <a:cubicBezTo>
                  <a:pt x="5546" y="14095"/>
                  <a:pt x="4565" y="16033"/>
                  <a:pt x="3096" y="17300"/>
                </a:cubicBezTo>
                <a:cubicBezTo>
                  <a:pt x="2706" y="17677"/>
                  <a:pt x="2616" y="18353"/>
                  <a:pt x="2889" y="18860"/>
                </a:cubicBezTo>
                <a:lnTo>
                  <a:pt x="3944" y="20879"/>
                </a:lnTo>
                <a:cubicBezTo>
                  <a:pt x="4242" y="21439"/>
                  <a:pt x="4857" y="21600"/>
                  <a:pt x="5318" y="21238"/>
                </a:cubicBezTo>
                <a:cubicBezTo>
                  <a:pt x="5339" y="21221"/>
                  <a:pt x="5360" y="21203"/>
                  <a:pt x="5380" y="21185"/>
                </a:cubicBezTo>
                <a:cubicBezTo>
                  <a:pt x="8162" y="18778"/>
                  <a:pt x="9815" y="14887"/>
                  <a:pt x="9818" y="10738"/>
                </a:cubicBezTo>
                <a:lnTo>
                  <a:pt x="9818" y="3579"/>
                </a:lnTo>
                <a:cubicBezTo>
                  <a:pt x="9818" y="1603"/>
                  <a:pt x="8500" y="0"/>
                  <a:pt x="6873" y="0"/>
                </a:cubicBezTo>
                <a:close/>
              </a:path>
            </a:pathLst>
          </a:custGeom>
          <a:solidFill>
            <a:srgbClr val="B3B3B3"/>
          </a:solidFill>
          <a:ln>
            <a:noFill/>
          </a:ln>
        </p:spPr>
        <p:txBody>
          <a:bodyPr tIns="45720" bIns="45720" anchor="ctr"/>
          <a:lstStyle/>
          <a:p>
            <a:endParaRPr lang="en-US" sz="900" dirty="0">
              <a:solidFill>
                <a:srgbClr val="D56854"/>
              </a:solidFill>
              <a:latin typeface="Lato" panose="020F050202020403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8858400-9B44-40DF-9476-9543354491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5260" y="496127"/>
            <a:ext cx="10663940" cy="341632"/>
          </a:xfrm>
        </p:spPr>
        <p:txBody>
          <a:bodyPr vert="horz"/>
          <a:lstStyle/>
          <a:p>
            <a:r>
              <a:rPr lang="en-US" dirty="0" err="1"/>
              <a:t>VolkerCTA</a:t>
            </a:r>
            <a:r>
              <a:rPr lang="en-US" dirty="0"/>
              <a:t> | Economic Collaborative Tool Assistant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DA5723DE-856E-4AD8-A188-F28FF731BF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VISION</a:t>
            </a:r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73DFA1A8-78B3-43F1-8F4E-07191CC403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de-DE" dirty="0"/>
              <a:t>@2025 INNOWERK - FRANKFURT AM MAI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7BE4D55-34D2-4639-9574-214629E5987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6 November 2025</a:t>
            </a:r>
            <a:endParaRPr lang="de-DE" dirty="0"/>
          </a:p>
        </p:txBody>
      </p:sp>
      <p:sp>
        <p:nvSpPr>
          <p:cNvPr id="8" name="Quotation">
            <a:extLst>
              <a:ext uri="{FF2B5EF4-FFF2-40B4-BE49-F238E27FC236}">
                <a16:creationId xmlns:a16="http://schemas.microsoft.com/office/drawing/2014/main" id="{5D77D565-0F4C-42E0-9773-58D830460C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45081" y="2391733"/>
            <a:ext cx="7082722" cy="2308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square" tIns="45720" bIns="45720">
            <a:spAutoFit/>
          </a:bodyPr>
          <a:lstStyle/>
          <a:p>
            <a:r>
              <a:rPr lang="en-US" altLang="de-DE" sz="3600" b="1" dirty="0">
                <a:solidFill>
                  <a:srgbClr val="00A0D2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Montserrat SemiBold" panose="00000700000000000000" pitchFamily="2" charset="0"/>
              </a:rPr>
              <a:t>Dear Assistant:</a:t>
            </a:r>
          </a:p>
          <a:p>
            <a:r>
              <a:rPr lang="en-US" altLang="de-DE" sz="3600" b="1" dirty="0">
                <a:solidFill>
                  <a:srgbClr val="00A0D2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Montserrat SemiBold" panose="00000700000000000000" pitchFamily="2" charset="0"/>
              </a:rPr>
              <a:t>What do our sources say …</a:t>
            </a:r>
          </a:p>
          <a:p>
            <a:r>
              <a:rPr lang="en-US" altLang="de-DE" sz="3600" b="1" dirty="0">
                <a:solidFill>
                  <a:srgbClr val="00A0D2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Montserrat SemiBold" panose="00000700000000000000" pitchFamily="2" charset="0"/>
              </a:rPr>
              <a:t>Please analyze …</a:t>
            </a:r>
          </a:p>
          <a:p>
            <a:r>
              <a:rPr lang="en-US" altLang="de-DE" sz="3600" b="1" dirty="0">
                <a:solidFill>
                  <a:srgbClr val="00A0D2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Montserrat SemiBold" panose="00000700000000000000" pitchFamily="2" charset="0"/>
              </a:rPr>
              <a:t>Display…</a:t>
            </a:r>
          </a:p>
        </p:txBody>
      </p:sp>
    </p:spTree>
    <p:extLst>
      <p:ext uri="{BB962C8B-B14F-4D97-AF65-F5344CB8AC3E}">
        <p14:creationId xmlns:p14="http://schemas.microsoft.com/office/powerpoint/2010/main" val="15150360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Infinity…">
            <a:extLst>
              <a:ext uri="{FF2B5EF4-FFF2-40B4-BE49-F238E27FC236}">
                <a16:creationId xmlns:a16="http://schemas.microsoft.com/office/drawing/2014/main" id="{AB346E20-1DC5-4640-A664-1E1FB23FB11A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N-WI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C667C05-7D29-40A4-99DD-74F5E5B384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UTLOOK</a:t>
            </a:r>
          </a:p>
        </p:txBody>
      </p:sp>
      <p:sp>
        <p:nvSpPr>
          <p:cNvPr id="51" name="Fußzeilenplatzhalter 9">
            <a:extLst>
              <a:ext uri="{FF2B5EF4-FFF2-40B4-BE49-F238E27FC236}">
                <a16:creationId xmlns:a16="http://schemas.microsoft.com/office/drawing/2014/main" id="{E11683EE-C3D6-4E85-9E82-1415B6BADF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de-DE" dirty="0"/>
              <a:t>@2025 INNOWERK - FRANKFURT AM MAIN</a:t>
            </a:r>
          </a:p>
        </p:txBody>
      </p:sp>
      <p:sp>
        <p:nvSpPr>
          <p:cNvPr id="53" name="Datumsplatzhalter 8">
            <a:extLst>
              <a:ext uri="{FF2B5EF4-FFF2-40B4-BE49-F238E27FC236}">
                <a16:creationId xmlns:a16="http://schemas.microsoft.com/office/drawing/2014/main" id="{091B8FC8-F0D6-4B9C-B136-B3366C20FC8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6 November 2025</a:t>
            </a:r>
            <a:endParaRPr lang="de-DE" dirty="0"/>
          </a:p>
        </p:txBody>
      </p:sp>
      <p:sp>
        <p:nvSpPr>
          <p:cNvPr id="166" name="Lorem ipsum dolor sit amet, consectetur adipiscing elit, sed do eiusmod tempor incididunt ut labore et dolore magna aliqua. Ut enim ad minim veniam, quis"/>
          <p:cNvSpPr txBox="1"/>
          <p:nvPr/>
        </p:nvSpPr>
        <p:spPr>
          <a:xfrm>
            <a:off x="1633244" y="1928422"/>
            <a:ext cx="4255884" cy="78996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numCol="1" anchor="t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600" b="1" dirty="0">
                <a:latin typeface="Lato" panose="020F0502020204030203" pitchFamily="34" charset="0"/>
              </a:rPr>
              <a:t>All the advantages of a GPT model</a:t>
            </a:r>
          </a:p>
          <a:p>
            <a:pPr>
              <a:lnSpc>
                <a:spcPct val="100000"/>
              </a:lnSpc>
            </a:pPr>
            <a:r>
              <a:rPr lang="en-US" sz="1600" dirty="0">
                <a:latin typeface="Lato" panose="020F0502020204030203" pitchFamily="34" charset="0"/>
              </a:rPr>
              <a:t>Communication and trouble-shooting in natural language</a:t>
            </a:r>
          </a:p>
        </p:txBody>
      </p:sp>
      <p:sp>
        <p:nvSpPr>
          <p:cNvPr id="167" name="Text list infographic"/>
          <p:cNvSpPr txBox="1"/>
          <p:nvPr/>
        </p:nvSpPr>
        <p:spPr>
          <a:xfrm>
            <a:off x="1620221" y="1493869"/>
            <a:ext cx="1556516" cy="3005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5400" tIns="25400" rIns="25400" bIns="25400" numCol="1" anchor="ctr">
            <a:spAutoFit/>
          </a:bodyPr>
          <a:lstStyle>
            <a:lvl1pPr>
              <a:lnSpc>
                <a:spcPct val="90000"/>
              </a:lnSpc>
              <a:defRPr sz="4000" baseline="0">
                <a:solidFill>
                  <a:srgbClr val="2F3235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</a:lstStyle>
          <a:p>
            <a:r>
              <a:rPr lang="de-DE" sz="1800" dirty="0">
                <a:latin typeface="Lato" panose="020F0502020204030203" pitchFamily="34" charset="0"/>
              </a:rPr>
              <a:t>AI-ASSISTANT</a:t>
            </a:r>
          </a:p>
        </p:txBody>
      </p:sp>
      <p:sp>
        <p:nvSpPr>
          <p:cNvPr id="168" name="Circle"/>
          <p:cNvSpPr/>
          <p:nvPr/>
        </p:nvSpPr>
        <p:spPr>
          <a:xfrm>
            <a:off x="1021384" y="1425705"/>
            <a:ext cx="462323" cy="462323"/>
          </a:xfrm>
          <a:prstGeom prst="ellipse">
            <a:avLst/>
          </a:prstGeom>
          <a:solidFill>
            <a:srgbClr val="00A0D2"/>
          </a:solidFill>
          <a:ln w="12700" cap="flat">
            <a:noFill/>
            <a:miter lim="400000"/>
          </a:ln>
          <a:effectLst/>
        </p:spPr>
        <p:txBody>
          <a:bodyPr wrap="square" lIns="25400" tIns="25400" rIns="25400" bIns="25400" numCol="1" anchor="ctr">
            <a:noAutofit/>
          </a:bodyPr>
          <a:lstStyle/>
          <a:p>
            <a:pPr algn="ctr">
              <a:lnSpc>
                <a:spcPct val="100000"/>
              </a:lnSpc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 dirty="0">
              <a:latin typeface="Lato" panose="020F0502020204030203" pitchFamily="34" charset="0"/>
            </a:endParaRPr>
          </a:p>
        </p:txBody>
      </p:sp>
      <p:sp>
        <p:nvSpPr>
          <p:cNvPr id="169" name="1"/>
          <p:cNvSpPr txBox="1"/>
          <p:nvPr/>
        </p:nvSpPr>
        <p:spPr>
          <a:xfrm>
            <a:off x="1084315" y="1517658"/>
            <a:ext cx="329283" cy="2728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numCol="1" anchor="ctr">
            <a:spAutoFit/>
          </a:bodyPr>
          <a:lstStyle>
            <a:lvl1pPr algn="ctr">
              <a:lnSpc>
                <a:spcPct val="90000"/>
              </a:lnSpc>
              <a:defRPr sz="2400" baseline="0">
                <a:solidFill>
                  <a:srgbClr val="FFFFFF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r>
              <a:rPr sz="1600" dirty="0">
                <a:latin typeface="Lato" panose="020F0502020204030203" pitchFamily="34" charset="0"/>
              </a:rPr>
              <a:t>1</a:t>
            </a:r>
          </a:p>
        </p:txBody>
      </p:sp>
      <p:sp>
        <p:nvSpPr>
          <p:cNvPr id="171" name="Lorem ipsum dolor sit amet, consectetur adipiscing elit, sed do eiusmod tempor incididunt ut labore et dolore magna aliqua. Ut enim ad minim veniam, quis"/>
          <p:cNvSpPr txBox="1"/>
          <p:nvPr/>
        </p:nvSpPr>
        <p:spPr>
          <a:xfrm>
            <a:off x="1633244" y="3485990"/>
            <a:ext cx="4255884" cy="103618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numCol="1" anchor="t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600" b="1" dirty="0">
                <a:latin typeface="Lato" panose="020F0502020204030203" pitchFamily="34" charset="0"/>
              </a:rPr>
              <a:t>The technical knowhow already exists in the business unit </a:t>
            </a:r>
            <a:r>
              <a:rPr lang="en-US" sz="1600" b="1" u="sng" dirty="0">
                <a:latin typeface="Lato" panose="020F0502020204030203" pitchFamily="34" charset="0"/>
              </a:rPr>
              <a:t>and stays there</a:t>
            </a:r>
          </a:p>
          <a:p>
            <a:pPr>
              <a:lnSpc>
                <a:spcPct val="100000"/>
              </a:lnSpc>
            </a:pPr>
            <a:r>
              <a:rPr lang="en-US" sz="1600" dirty="0" err="1">
                <a:latin typeface="Lato" panose="020F0502020204030203" pitchFamily="34" charset="0"/>
              </a:rPr>
              <a:t>VolkerCTA</a:t>
            </a:r>
            <a:r>
              <a:rPr lang="en-US" sz="1600" dirty="0">
                <a:latin typeface="Lato" panose="020F0502020204030203" pitchFamily="34" charset="0"/>
              </a:rPr>
              <a:t> knows all the manuals, makes goal-oriented requests and interprets results</a:t>
            </a:r>
          </a:p>
        </p:txBody>
      </p:sp>
      <p:sp>
        <p:nvSpPr>
          <p:cNvPr id="172" name="Text list infographic"/>
          <p:cNvSpPr txBox="1"/>
          <p:nvPr/>
        </p:nvSpPr>
        <p:spPr>
          <a:xfrm>
            <a:off x="1620221" y="3051438"/>
            <a:ext cx="796693" cy="3005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5400" tIns="25400" rIns="25400" bIns="25400" numCol="1" anchor="ctr">
            <a:spAutoFit/>
          </a:bodyPr>
          <a:lstStyle>
            <a:lvl1pPr>
              <a:lnSpc>
                <a:spcPct val="90000"/>
              </a:lnSpc>
              <a:defRPr sz="4000" baseline="0">
                <a:solidFill>
                  <a:srgbClr val="2F3235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</a:lstStyle>
          <a:p>
            <a:r>
              <a:rPr lang="de-DE" sz="1800" dirty="0">
                <a:latin typeface="Lato" panose="020F0502020204030203" pitchFamily="34" charset="0"/>
              </a:rPr>
              <a:t>TOOLS</a:t>
            </a:r>
          </a:p>
        </p:txBody>
      </p:sp>
      <p:sp>
        <p:nvSpPr>
          <p:cNvPr id="173" name="Circle"/>
          <p:cNvSpPr/>
          <p:nvPr/>
        </p:nvSpPr>
        <p:spPr>
          <a:xfrm>
            <a:off x="1021384" y="2983273"/>
            <a:ext cx="462323" cy="462323"/>
          </a:xfrm>
          <a:prstGeom prst="ellipse">
            <a:avLst/>
          </a:prstGeom>
          <a:solidFill>
            <a:srgbClr val="00A0D2"/>
          </a:solidFill>
          <a:ln w="12700" cap="flat">
            <a:noFill/>
            <a:miter lim="400000"/>
          </a:ln>
          <a:effectLst/>
        </p:spPr>
        <p:txBody>
          <a:bodyPr wrap="square" lIns="25400" tIns="25400" rIns="25400" bIns="25400" numCol="1" anchor="ctr">
            <a:noAutofit/>
          </a:bodyPr>
          <a:lstStyle/>
          <a:p>
            <a:pPr algn="ctr">
              <a:lnSpc>
                <a:spcPct val="100000"/>
              </a:lnSpc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 dirty="0">
              <a:latin typeface="Lato" panose="020F0502020204030203" pitchFamily="34" charset="0"/>
            </a:endParaRPr>
          </a:p>
        </p:txBody>
      </p:sp>
      <p:sp>
        <p:nvSpPr>
          <p:cNvPr id="174" name="2"/>
          <p:cNvSpPr txBox="1"/>
          <p:nvPr/>
        </p:nvSpPr>
        <p:spPr>
          <a:xfrm>
            <a:off x="1084315" y="3075226"/>
            <a:ext cx="329283" cy="272895"/>
          </a:xfrm>
          <a:prstGeom prst="rect">
            <a:avLst/>
          </a:prstGeom>
          <a:solidFill>
            <a:srgbClr val="00A0D2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numCol="1" anchor="ctr">
            <a:spAutoFit/>
          </a:bodyPr>
          <a:lstStyle>
            <a:lvl1pPr algn="ctr">
              <a:lnSpc>
                <a:spcPct val="90000"/>
              </a:lnSpc>
              <a:defRPr sz="2400" baseline="0">
                <a:solidFill>
                  <a:srgbClr val="FFFFFF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r>
              <a:rPr sz="1600" dirty="0">
                <a:latin typeface="Lato" panose="020F0502020204030203" pitchFamily="34" charset="0"/>
              </a:rPr>
              <a:t>2</a:t>
            </a:r>
          </a:p>
        </p:txBody>
      </p:sp>
      <p:sp>
        <p:nvSpPr>
          <p:cNvPr id="176" name="Lorem ipsum dolor sit amet, consectetur adipiscing elit, sed do eiusmod tempor incididunt ut labore et dolore magna aliqua. Ut enim ad minim veniam, quis"/>
          <p:cNvSpPr txBox="1"/>
          <p:nvPr/>
        </p:nvSpPr>
        <p:spPr>
          <a:xfrm>
            <a:off x="1633244" y="5043559"/>
            <a:ext cx="4255884" cy="103618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numCol="1" anchor="t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600" b="1" dirty="0">
                <a:latin typeface="Lato" panose="020F0502020204030203" pitchFamily="34" charset="0"/>
              </a:rPr>
              <a:t>Continue analyzing with preferred methods and using their own models</a:t>
            </a:r>
          </a:p>
          <a:p>
            <a:pPr>
              <a:lnSpc>
                <a:spcPct val="100000"/>
              </a:lnSpc>
            </a:pPr>
            <a:r>
              <a:rPr lang="en-US" sz="1600" dirty="0" err="1">
                <a:latin typeface="Lato" panose="020F0502020204030203" pitchFamily="34" charset="0"/>
              </a:rPr>
              <a:t>VolkerCTA</a:t>
            </a:r>
            <a:r>
              <a:rPr lang="en-US" sz="1600" dirty="0">
                <a:latin typeface="Lato" panose="020F0502020204030203" pitchFamily="34" charset="0"/>
              </a:rPr>
              <a:t> as user interface, results directly transferrable, focus on development</a:t>
            </a:r>
          </a:p>
        </p:txBody>
      </p:sp>
      <p:sp>
        <p:nvSpPr>
          <p:cNvPr id="177" name="Text list infographic"/>
          <p:cNvSpPr txBox="1"/>
          <p:nvPr/>
        </p:nvSpPr>
        <p:spPr>
          <a:xfrm>
            <a:off x="1620221" y="4609007"/>
            <a:ext cx="1017907" cy="3005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5400" tIns="25400" rIns="25400" bIns="25400" numCol="1" anchor="ctr">
            <a:spAutoFit/>
          </a:bodyPr>
          <a:lstStyle>
            <a:lvl1pPr>
              <a:lnSpc>
                <a:spcPct val="90000"/>
              </a:lnSpc>
              <a:defRPr sz="4000" baseline="0">
                <a:solidFill>
                  <a:srgbClr val="2F3235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</a:lstStyle>
          <a:p>
            <a:r>
              <a:rPr lang="de-DE" sz="1800" dirty="0">
                <a:latin typeface="Lato" panose="020F0502020204030203" pitchFamily="34" charset="0"/>
              </a:rPr>
              <a:t>EXPERTS</a:t>
            </a:r>
          </a:p>
        </p:txBody>
      </p:sp>
      <p:sp>
        <p:nvSpPr>
          <p:cNvPr id="178" name="Circle"/>
          <p:cNvSpPr/>
          <p:nvPr/>
        </p:nvSpPr>
        <p:spPr>
          <a:xfrm>
            <a:off x="1021384" y="4540843"/>
            <a:ext cx="462323" cy="462323"/>
          </a:xfrm>
          <a:prstGeom prst="ellipse">
            <a:avLst/>
          </a:prstGeom>
          <a:solidFill>
            <a:srgbClr val="00A0D2"/>
          </a:solidFill>
          <a:ln w="12700" cap="flat">
            <a:noFill/>
            <a:miter lim="400000"/>
          </a:ln>
          <a:effectLst/>
        </p:spPr>
        <p:txBody>
          <a:bodyPr wrap="square" lIns="25400" tIns="25400" rIns="25400" bIns="25400" numCol="1" anchor="ctr">
            <a:noAutofit/>
          </a:bodyPr>
          <a:lstStyle/>
          <a:p>
            <a:pPr algn="ctr">
              <a:lnSpc>
                <a:spcPct val="100000"/>
              </a:lnSpc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 dirty="0">
              <a:latin typeface="Lato" panose="020F0502020204030203" pitchFamily="34" charset="0"/>
            </a:endParaRPr>
          </a:p>
        </p:txBody>
      </p:sp>
      <p:sp>
        <p:nvSpPr>
          <p:cNvPr id="179" name="3"/>
          <p:cNvSpPr txBox="1"/>
          <p:nvPr/>
        </p:nvSpPr>
        <p:spPr>
          <a:xfrm>
            <a:off x="1084315" y="4632794"/>
            <a:ext cx="329283" cy="2728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numCol="1" anchor="ctr">
            <a:spAutoFit/>
          </a:bodyPr>
          <a:lstStyle>
            <a:lvl1pPr algn="ctr">
              <a:lnSpc>
                <a:spcPct val="90000"/>
              </a:lnSpc>
              <a:defRPr sz="2400" baseline="0">
                <a:solidFill>
                  <a:srgbClr val="FFFFFF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r>
              <a:rPr sz="1600" dirty="0">
                <a:latin typeface="Lato" panose="020F0502020204030203" pitchFamily="34" charset="0"/>
              </a:rPr>
              <a:t>3</a:t>
            </a:r>
          </a:p>
        </p:txBody>
      </p:sp>
      <p:sp>
        <p:nvSpPr>
          <p:cNvPr id="181" name="Lorem ipsum dolor sit amet, consectetur adipiscing elit, sed do eiusmod tempor incididunt ut labore et dolore magna aliqua. Ut enim ad minim veniam, quis"/>
          <p:cNvSpPr txBox="1"/>
          <p:nvPr/>
        </p:nvSpPr>
        <p:spPr>
          <a:xfrm>
            <a:off x="6864526" y="1928422"/>
            <a:ext cx="4255884" cy="5437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numCol="1" anchor="t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600" b="1" dirty="0">
                <a:latin typeface="Lato" panose="020F0502020204030203" pitchFamily="34" charset="0"/>
              </a:rPr>
              <a:t>Goal-oriented work</a:t>
            </a:r>
          </a:p>
          <a:p>
            <a:pPr>
              <a:lnSpc>
                <a:spcPct val="100000"/>
              </a:lnSpc>
            </a:pPr>
            <a:r>
              <a:rPr lang="en-US" sz="1600" dirty="0">
                <a:latin typeface="Lato" panose="020F0502020204030203" pitchFamily="34" charset="0"/>
              </a:rPr>
              <a:t>Can focus their competence on essential tasks</a:t>
            </a:r>
          </a:p>
        </p:txBody>
      </p:sp>
      <p:sp>
        <p:nvSpPr>
          <p:cNvPr id="182" name="Text list infographic"/>
          <p:cNvSpPr txBox="1"/>
          <p:nvPr/>
        </p:nvSpPr>
        <p:spPr>
          <a:xfrm>
            <a:off x="6851503" y="1493869"/>
            <a:ext cx="625171" cy="3005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5400" tIns="25400" rIns="25400" bIns="25400" numCol="1" anchor="ctr">
            <a:spAutoFit/>
          </a:bodyPr>
          <a:lstStyle>
            <a:lvl1pPr>
              <a:lnSpc>
                <a:spcPct val="90000"/>
              </a:lnSpc>
              <a:defRPr sz="4000" baseline="0">
                <a:solidFill>
                  <a:srgbClr val="2F3235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</a:lstStyle>
          <a:p>
            <a:r>
              <a:rPr lang="de-DE" sz="1800" dirty="0">
                <a:latin typeface="Lato" panose="020F0502020204030203" pitchFamily="34" charset="0"/>
              </a:rPr>
              <a:t>USER</a:t>
            </a:r>
          </a:p>
        </p:txBody>
      </p:sp>
      <p:sp>
        <p:nvSpPr>
          <p:cNvPr id="183" name="Circle"/>
          <p:cNvSpPr/>
          <p:nvPr/>
        </p:nvSpPr>
        <p:spPr>
          <a:xfrm>
            <a:off x="6252666" y="1425705"/>
            <a:ext cx="462323" cy="462323"/>
          </a:xfrm>
          <a:prstGeom prst="ellipse">
            <a:avLst/>
          </a:prstGeom>
          <a:solidFill>
            <a:srgbClr val="00A0D2"/>
          </a:solidFill>
          <a:ln w="12700" cap="flat">
            <a:noFill/>
            <a:miter lim="400000"/>
          </a:ln>
          <a:effectLst/>
        </p:spPr>
        <p:txBody>
          <a:bodyPr wrap="square" lIns="25400" tIns="25400" rIns="25400" bIns="25400" numCol="1" anchor="ctr">
            <a:noAutofit/>
          </a:bodyPr>
          <a:lstStyle/>
          <a:p>
            <a:pPr algn="ctr">
              <a:lnSpc>
                <a:spcPct val="100000"/>
              </a:lnSpc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 dirty="0">
              <a:latin typeface="Lato" panose="020F0502020204030203" pitchFamily="34" charset="0"/>
            </a:endParaRPr>
          </a:p>
        </p:txBody>
      </p:sp>
      <p:sp>
        <p:nvSpPr>
          <p:cNvPr id="184" name="4"/>
          <p:cNvSpPr txBox="1"/>
          <p:nvPr/>
        </p:nvSpPr>
        <p:spPr>
          <a:xfrm>
            <a:off x="6315596" y="1517658"/>
            <a:ext cx="329283" cy="2728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numCol="1" anchor="ctr">
            <a:spAutoFit/>
          </a:bodyPr>
          <a:lstStyle>
            <a:lvl1pPr algn="ctr">
              <a:lnSpc>
                <a:spcPct val="90000"/>
              </a:lnSpc>
              <a:defRPr sz="2400" baseline="0">
                <a:solidFill>
                  <a:srgbClr val="FFFFFF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r>
              <a:rPr sz="1600" dirty="0">
                <a:latin typeface="Lato" panose="020F0502020204030203" pitchFamily="34" charset="0"/>
              </a:rPr>
              <a:t>4</a:t>
            </a:r>
          </a:p>
        </p:txBody>
      </p:sp>
      <p:sp>
        <p:nvSpPr>
          <p:cNvPr id="186" name="Lorem ipsum dolor sit amet, consectetur adipiscing elit, sed do eiusmod tempor incididunt ut labore et dolore magna aliqua. Ut enim ad minim veniam, quis"/>
          <p:cNvSpPr txBox="1"/>
          <p:nvPr/>
        </p:nvSpPr>
        <p:spPr>
          <a:xfrm>
            <a:off x="6864526" y="3485990"/>
            <a:ext cx="4255884" cy="78996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numCol="1" anchor="t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600" b="1" dirty="0">
                <a:latin typeface="Lato" panose="020F0502020204030203" pitchFamily="34" charset="0"/>
              </a:rPr>
              <a:t>All the knowledge of the business unit is available to the whole business unit</a:t>
            </a:r>
          </a:p>
          <a:p>
            <a:pPr>
              <a:lnSpc>
                <a:spcPct val="100000"/>
              </a:lnSpc>
            </a:pPr>
            <a:r>
              <a:rPr lang="en-US" sz="1600" dirty="0">
                <a:latin typeface="Lato" panose="020F0502020204030203" pitchFamily="34" charset="0"/>
              </a:rPr>
              <a:t>Enables new ways of analysis very timely</a:t>
            </a:r>
          </a:p>
        </p:txBody>
      </p:sp>
      <p:sp>
        <p:nvSpPr>
          <p:cNvPr id="187" name="Text list infographic"/>
          <p:cNvSpPr txBox="1"/>
          <p:nvPr/>
        </p:nvSpPr>
        <p:spPr>
          <a:xfrm>
            <a:off x="6851503" y="3051438"/>
            <a:ext cx="1638269" cy="3005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5400" tIns="25400" rIns="25400" bIns="25400" numCol="1" anchor="ctr">
            <a:spAutoFit/>
          </a:bodyPr>
          <a:lstStyle>
            <a:lvl1pPr>
              <a:lnSpc>
                <a:spcPct val="90000"/>
              </a:lnSpc>
              <a:defRPr sz="4000" baseline="0">
                <a:solidFill>
                  <a:srgbClr val="2F3235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</a:lstStyle>
          <a:p>
            <a:r>
              <a:rPr lang="de-DE" sz="1800" dirty="0">
                <a:latin typeface="Lato" panose="020F0502020204030203" pitchFamily="34" charset="0"/>
              </a:rPr>
              <a:t>NETWORKING</a:t>
            </a:r>
          </a:p>
        </p:txBody>
      </p:sp>
      <p:sp>
        <p:nvSpPr>
          <p:cNvPr id="188" name="Circle"/>
          <p:cNvSpPr/>
          <p:nvPr/>
        </p:nvSpPr>
        <p:spPr>
          <a:xfrm>
            <a:off x="6252666" y="2983273"/>
            <a:ext cx="462323" cy="462323"/>
          </a:xfrm>
          <a:prstGeom prst="ellipse">
            <a:avLst/>
          </a:prstGeom>
          <a:solidFill>
            <a:srgbClr val="00A0D2"/>
          </a:solidFill>
          <a:ln w="12700" cap="flat">
            <a:noFill/>
            <a:miter lim="400000"/>
          </a:ln>
          <a:effectLst/>
        </p:spPr>
        <p:txBody>
          <a:bodyPr wrap="square" lIns="25400" tIns="25400" rIns="25400" bIns="25400" numCol="1" anchor="ctr">
            <a:noAutofit/>
          </a:bodyPr>
          <a:lstStyle/>
          <a:p>
            <a:pPr algn="ctr">
              <a:lnSpc>
                <a:spcPct val="100000"/>
              </a:lnSpc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 dirty="0">
              <a:latin typeface="Lato" panose="020F0502020204030203" pitchFamily="34" charset="0"/>
            </a:endParaRPr>
          </a:p>
        </p:txBody>
      </p:sp>
      <p:sp>
        <p:nvSpPr>
          <p:cNvPr id="189" name="5"/>
          <p:cNvSpPr txBox="1"/>
          <p:nvPr/>
        </p:nvSpPr>
        <p:spPr>
          <a:xfrm>
            <a:off x="6315596" y="3075226"/>
            <a:ext cx="329283" cy="2728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numCol="1" anchor="ctr">
            <a:spAutoFit/>
          </a:bodyPr>
          <a:lstStyle>
            <a:lvl1pPr algn="ctr">
              <a:lnSpc>
                <a:spcPct val="90000"/>
              </a:lnSpc>
              <a:defRPr sz="2400" baseline="0">
                <a:solidFill>
                  <a:srgbClr val="FFFFFF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r>
              <a:rPr sz="1600" dirty="0">
                <a:latin typeface="Lato" panose="020F0502020204030203" pitchFamily="34" charset="0"/>
              </a:rPr>
              <a:t>5</a:t>
            </a:r>
          </a:p>
        </p:txBody>
      </p:sp>
      <p:sp>
        <p:nvSpPr>
          <p:cNvPr id="191" name="Lorem ipsum dolor sit amet, consectetur adipiscing elit, sed do eiusmod tempor incididunt ut labore et dolore magna aliqua. Ut enim ad minim veniam, quis"/>
          <p:cNvSpPr txBox="1"/>
          <p:nvPr/>
        </p:nvSpPr>
        <p:spPr>
          <a:xfrm>
            <a:off x="6864526" y="5043558"/>
            <a:ext cx="4255884" cy="128240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numCol="1" anchor="t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600" b="1" dirty="0">
                <a:latin typeface="Lato" panose="020F0502020204030203" pitchFamily="34" charset="0"/>
              </a:rPr>
              <a:t>Scaled to the whole central bank</a:t>
            </a:r>
          </a:p>
          <a:p>
            <a:pPr>
              <a:lnSpc>
                <a:spcPct val="100000"/>
              </a:lnSpc>
            </a:pPr>
            <a:r>
              <a:rPr lang="en-US" sz="1600" dirty="0">
                <a:latin typeface="Lato" panose="020F0502020204030203" pitchFamily="34" charset="0"/>
              </a:rPr>
              <a:t>Cooperation between different divisions or directorate generals a lot easier through AI-Assistance</a:t>
            </a:r>
          </a:p>
          <a:p>
            <a:pPr>
              <a:lnSpc>
                <a:spcPct val="100000"/>
              </a:lnSpc>
            </a:pPr>
            <a:endParaRPr sz="1600" b="1" dirty="0">
              <a:latin typeface="Lato" panose="020F0502020204030203" pitchFamily="34" charset="0"/>
            </a:endParaRPr>
          </a:p>
        </p:txBody>
      </p:sp>
      <p:sp>
        <p:nvSpPr>
          <p:cNvPr id="192" name="Text list infographic"/>
          <p:cNvSpPr txBox="1"/>
          <p:nvPr/>
        </p:nvSpPr>
        <p:spPr>
          <a:xfrm>
            <a:off x="6851503" y="4609007"/>
            <a:ext cx="2417328" cy="3005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5400" tIns="25400" rIns="25400" bIns="25400" numCol="1" anchor="ctr">
            <a:spAutoFit/>
          </a:bodyPr>
          <a:lstStyle>
            <a:lvl1pPr>
              <a:lnSpc>
                <a:spcPct val="90000"/>
              </a:lnSpc>
              <a:defRPr sz="4000" baseline="0">
                <a:solidFill>
                  <a:srgbClr val="2F3235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</a:lstStyle>
          <a:p>
            <a:r>
              <a:rPr lang="de-DE" sz="1800" dirty="0">
                <a:latin typeface="Lato" panose="020F0502020204030203" pitchFamily="34" charset="0"/>
              </a:rPr>
              <a:t>THINKING FURTHER…</a:t>
            </a:r>
          </a:p>
        </p:txBody>
      </p:sp>
      <p:sp>
        <p:nvSpPr>
          <p:cNvPr id="193" name="Circle"/>
          <p:cNvSpPr/>
          <p:nvPr/>
        </p:nvSpPr>
        <p:spPr>
          <a:xfrm>
            <a:off x="6252666" y="4540843"/>
            <a:ext cx="462323" cy="462323"/>
          </a:xfrm>
          <a:prstGeom prst="ellipse">
            <a:avLst/>
          </a:prstGeom>
          <a:solidFill>
            <a:srgbClr val="00A0D2"/>
          </a:solidFill>
          <a:ln w="12700" cap="flat">
            <a:noFill/>
            <a:miter lim="400000"/>
          </a:ln>
          <a:effectLst/>
        </p:spPr>
        <p:txBody>
          <a:bodyPr wrap="square" lIns="25400" tIns="25400" rIns="25400" bIns="25400" numCol="1" anchor="ctr">
            <a:noAutofit/>
          </a:bodyPr>
          <a:lstStyle/>
          <a:p>
            <a:pPr algn="ctr">
              <a:lnSpc>
                <a:spcPct val="100000"/>
              </a:lnSpc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 dirty="0">
              <a:latin typeface="Lato" panose="020F0502020204030203" pitchFamily="34" charset="0"/>
            </a:endParaRPr>
          </a:p>
        </p:txBody>
      </p:sp>
      <p:sp>
        <p:nvSpPr>
          <p:cNvPr id="194" name="6"/>
          <p:cNvSpPr txBox="1"/>
          <p:nvPr/>
        </p:nvSpPr>
        <p:spPr>
          <a:xfrm>
            <a:off x="6315596" y="4632794"/>
            <a:ext cx="329283" cy="272895"/>
          </a:xfrm>
          <a:prstGeom prst="rect">
            <a:avLst/>
          </a:prstGeom>
          <a:solidFill>
            <a:srgbClr val="00A0D2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numCol="1" anchor="ctr">
            <a:spAutoFit/>
          </a:bodyPr>
          <a:lstStyle>
            <a:lvl1pPr algn="ctr">
              <a:lnSpc>
                <a:spcPct val="90000"/>
              </a:lnSpc>
              <a:defRPr sz="2400" baseline="0">
                <a:solidFill>
                  <a:srgbClr val="FFFFFF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r>
              <a:rPr sz="1600" dirty="0">
                <a:latin typeface="Lato" panose="020F0502020204030203" pitchFamily="34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8748554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IC5L4J4lIGzA83oa60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noWerk Timesaver">
  <a:themeElements>
    <a:clrScheme name="Benutzerdefiniert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61A1"/>
      </a:accent1>
      <a:accent2>
        <a:srgbClr val="3E4D61"/>
      </a:accent2>
      <a:accent3>
        <a:srgbClr val="00A0D2"/>
      </a:accent3>
      <a:accent4>
        <a:srgbClr val="D56854"/>
      </a:accent4>
      <a:accent5>
        <a:srgbClr val="B3B3B3"/>
      </a:accent5>
      <a:accent6>
        <a:srgbClr val="E5E5E5"/>
      </a:accent6>
      <a:hlink>
        <a:srgbClr val="00779D"/>
      </a:hlink>
      <a:folHlink>
        <a:srgbClr val="954F72"/>
      </a:folHlink>
    </a:clrScheme>
    <a:fontScheme name="Benutzerdefiniert 1">
      <a:majorFont>
        <a:latin typeface="Lato Black"/>
        <a:ea typeface=""/>
        <a:cs typeface=""/>
      </a:majorFont>
      <a:minorFont>
        <a:latin typeface="Lato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</a:spPr>
      <a:bodyPr wrap="square" rtlCol="0" anchor="ctr">
        <a:spAutoFit/>
      </a:bodyPr>
      <a:lstStyle>
        <a:defPPr algn="l">
          <a:lnSpc>
            <a:spcPct val="120000"/>
          </a:lnSpc>
          <a:buSzPct val="90000"/>
          <a:defRPr sz="1600" b="1">
            <a:solidFill>
              <a:schemeClr val="accent3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defRPr>
        </a:defPPr>
      </a:lstStyle>
    </a:sp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10000"/>
          </a:lnSpc>
          <a:defRPr sz="1600">
            <a:solidFill>
              <a:schemeClr val="accent3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58CD4A2ACBCF4C876B306748FB5957" ma:contentTypeVersion="0" ma:contentTypeDescription="Create a new document." ma:contentTypeScope="" ma:versionID="3286ef5c8e4daf74b99081c8b761e3c1">
  <xsd:schema xmlns:xsd="http://www.w3.org/2001/XMLSchema" xmlns:xs="http://www.w3.org/2001/XMLSchema" xmlns:p="http://schemas.microsoft.com/office/2006/metadata/properties" xmlns:ns2="6acf3a52-5fc7-44aa-b5a3-d8fcafa65ae9" targetNamespace="http://schemas.microsoft.com/office/2006/metadata/properties" ma:root="true" ma:fieldsID="e8ff1453af244be79c7d1998fa47f1f5" ns2:_="">
    <xsd:import namespace="6acf3a52-5fc7-44aa-b5a3-d8fcafa65ae9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cf3a52-5fc7-44aa-b5a3-d8fcafa65ae9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6acf3a52-5fc7-44aa-b5a3-d8fcafa65ae9">VEUUTWAY6F6P-1314499509-35</_dlc_DocId>
    <_dlc_DocIdUrl xmlns="6acf3a52-5fc7-44aa-b5a3-d8fcafa65ae9">
      <Url>https://nova.bofnet.fi/sites/rv/_layouts/15/DocIdRedir.aspx?ID=VEUUTWAY6F6P-1314499509-35</Url>
      <Description>VEUUTWAY6F6P-1314499509-35</Description>
    </_dlc_DocIdUrl>
  </documentManagement>
</p:properties>
</file>

<file path=customXml/itemProps1.xml><?xml version="1.0" encoding="utf-8"?>
<ds:datastoreItem xmlns:ds="http://schemas.openxmlformats.org/officeDocument/2006/customXml" ds:itemID="{01E61350-110B-4D3B-A9CD-EBE8AC7F971D}"/>
</file>

<file path=customXml/itemProps2.xml><?xml version="1.0" encoding="utf-8"?>
<ds:datastoreItem xmlns:ds="http://schemas.openxmlformats.org/officeDocument/2006/customXml" ds:itemID="{95CC07DB-B72A-4E78-A1C6-5BBE9C0A3A27}"/>
</file>

<file path=customXml/itemProps3.xml><?xml version="1.0" encoding="utf-8"?>
<ds:datastoreItem xmlns:ds="http://schemas.openxmlformats.org/officeDocument/2006/customXml" ds:itemID="{08009AB0-C9AA-4287-80C5-DFB59AC42367}"/>
</file>

<file path=customXml/itemProps4.xml><?xml version="1.0" encoding="utf-8"?>
<ds:datastoreItem xmlns:ds="http://schemas.openxmlformats.org/officeDocument/2006/customXml" ds:itemID="{C14F7D4B-F69E-4B67-A786-5E81813B910C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50</Words>
  <Application>Microsoft Office PowerPoint</Application>
  <PresentationFormat>Breitbild</PresentationFormat>
  <Paragraphs>123</Paragraphs>
  <Slides>8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6" baseType="lpstr">
      <vt:lpstr>Arial</vt:lpstr>
      <vt:lpstr>Calibri</vt:lpstr>
      <vt:lpstr>Lato</vt:lpstr>
      <vt:lpstr>Lato Black</vt:lpstr>
      <vt:lpstr>Open Sans</vt:lpstr>
      <vt:lpstr>Wingdings</vt:lpstr>
      <vt:lpstr>InnoWerk Timesaver</vt:lpstr>
      <vt:lpstr>think-cell Slide</vt:lpstr>
      <vt:lpstr>VolkerCTA - Economic Collaborative Tool Assistant</vt:lpstr>
      <vt:lpstr>PROCEDURE | WORKING ON A NOVEL TASK</vt:lpstr>
      <vt:lpstr>ANALYSIS NOW</vt:lpstr>
      <vt:lpstr>ANALYSIS IN THE FUTURE</vt:lpstr>
      <vt:lpstr>WORKING WITH A TOOL ASSISTANT</vt:lpstr>
      <vt:lpstr>WORKING WITH A TOOL ASSISTANT</vt:lpstr>
      <vt:lpstr>VolkerCTA | Economic Collaborative Tool Assistant</vt:lpstr>
      <vt:lpstr>WIN-WIN</vt:lpstr>
    </vt:vector>
  </TitlesOfParts>
  <Company>Deutsche Bundesban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Julia Viertmann</dc:creator>
  <cp:lastModifiedBy>Lutterer Sebastian</cp:lastModifiedBy>
  <cp:revision>177</cp:revision>
  <dcterms:created xsi:type="dcterms:W3CDTF">2022-02-25T13:25:41Z</dcterms:created>
  <dcterms:modified xsi:type="dcterms:W3CDTF">2025-10-31T13:19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58CD4A2ACBCF4C876B306748FB5957</vt:lpwstr>
  </property>
  <property fmtid="{D5CDD505-2E9C-101B-9397-08002B2CF9AE}" pid="3" name="_dlc_DocIdItemGuid">
    <vt:lpwstr>ca03fbbd-6b8b-493a-8ae1-614ee4f7fe42</vt:lpwstr>
  </property>
</Properties>
</file>